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66" r:id="rId2"/>
    <p:sldMasterId id="2147483675" r:id="rId3"/>
    <p:sldMasterId id="2147483684" r:id="rId4"/>
  </p:sldMasterIdLst>
  <p:notesMasterIdLst>
    <p:notesMasterId r:id="rId36"/>
  </p:notesMasterIdLst>
  <p:sldIdLst>
    <p:sldId id="1692" r:id="rId5"/>
    <p:sldId id="2137" r:id="rId6"/>
    <p:sldId id="1738" r:id="rId7"/>
    <p:sldId id="1691" r:id="rId8"/>
    <p:sldId id="1720" r:id="rId9"/>
    <p:sldId id="1675" r:id="rId10"/>
    <p:sldId id="1677" r:id="rId11"/>
    <p:sldId id="1721" r:id="rId12"/>
    <p:sldId id="1718" r:id="rId13"/>
    <p:sldId id="1707" r:id="rId14"/>
    <p:sldId id="1708" r:id="rId15"/>
    <p:sldId id="1709" r:id="rId16"/>
    <p:sldId id="1722" r:id="rId17"/>
    <p:sldId id="2119" r:id="rId18"/>
    <p:sldId id="1628" r:id="rId19"/>
    <p:sldId id="2128" r:id="rId20"/>
    <p:sldId id="1091" r:id="rId21"/>
    <p:sldId id="1757" r:id="rId22"/>
    <p:sldId id="1728" r:id="rId23"/>
    <p:sldId id="1726" r:id="rId24"/>
    <p:sldId id="2121" r:id="rId25"/>
    <p:sldId id="2129" r:id="rId26"/>
    <p:sldId id="1479" r:id="rId27"/>
    <p:sldId id="1480" r:id="rId28"/>
    <p:sldId id="2130" r:id="rId29"/>
    <p:sldId id="2135" r:id="rId30"/>
    <p:sldId id="2136" r:id="rId31"/>
    <p:sldId id="2138" r:id="rId32"/>
    <p:sldId id="2133" r:id="rId33"/>
    <p:sldId id="2131" r:id="rId34"/>
    <p:sldId id="2132" r:id="rId35"/>
  </p:sldIdLst>
  <p:sldSz cx="12192000" cy="6858000"/>
  <p:notesSz cx="6858000" cy="9144000"/>
  <p:embeddedFontLst>
    <p:embeddedFont>
      <p:font typeface="Calibri Light" panose="020F0302020204030204" pitchFamily="34" charset="0"/>
      <p:regular r:id="rId37"/>
      <p:italic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00FF00"/>
    <a:srgbClr val="FF00FF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08" autoAdjust="0"/>
    <p:restoredTop sz="96327" autoAdjust="0"/>
  </p:normalViewPr>
  <p:slideViewPr>
    <p:cSldViewPr snapToGrid="0">
      <p:cViewPr varScale="1">
        <p:scale>
          <a:sx n="70" d="100"/>
          <a:sy n="70" d="100"/>
        </p:scale>
        <p:origin x="786" y="5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3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6.fntdata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2.fntdata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778605280974949E-2"/>
          <c:y val="2.9171253341720396E-2"/>
          <c:w val="0.91251364292647907"/>
          <c:h val="0.9031911464066677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ocenta 2 davka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87</c:f>
              <c:numCache>
                <c:formatCode>General</c:formatCode>
                <c:ptCount val="8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</c:numCache>
            </c:numRef>
          </c:cat>
          <c:val>
            <c:numRef>
              <c:f>List1!$B$2:$B$87</c:f>
              <c:numCache>
                <c:formatCode>0.00%</c:formatCode>
                <c:ptCount val="86"/>
                <c:pt idx="0">
                  <c:v>2.075E-5</c:v>
                </c:pt>
                <c:pt idx="1">
                  <c:v>6.4150000000000001E-5</c:v>
                </c:pt>
                <c:pt idx="2">
                  <c:v>8.4900000000000004E-5</c:v>
                </c:pt>
                <c:pt idx="3">
                  <c:v>9.5279999999999996E-5</c:v>
                </c:pt>
                <c:pt idx="4">
                  <c:v>1.1697E-4</c:v>
                </c:pt>
                <c:pt idx="5">
                  <c:v>1.4715999999999999E-4</c:v>
                </c:pt>
                <c:pt idx="6">
                  <c:v>1.7075E-4</c:v>
                </c:pt>
                <c:pt idx="7">
                  <c:v>1.8866999999999999E-4</c:v>
                </c:pt>
                <c:pt idx="8">
                  <c:v>1.6697000000000001E-4</c:v>
                </c:pt>
                <c:pt idx="9">
                  <c:v>1.2547E-4</c:v>
                </c:pt>
                <c:pt idx="10">
                  <c:v>9.8109999999999994E-5</c:v>
                </c:pt>
                <c:pt idx="11">
                  <c:v>1.0187999999999999E-4</c:v>
                </c:pt>
                <c:pt idx="12">
                  <c:v>6.8860000000000001E-5</c:v>
                </c:pt>
                <c:pt idx="13">
                  <c:v>8.6790000000000001E-5</c:v>
                </c:pt>
                <c:pt idx="14">
                  <c:v>7.6409999999999995E-5</c:v>
                </c:pt>
                <c:pt idx="15">
                  <c:v>6.6030000000000003E-5</c:v>
                </c:pt>
                <c:pt idx="16">
                  <c:v>4.8109999999999998E-5</c:v>
                </c:pt>
                <c:pt idx="17">
                  <c:v>3.6789999999999998E-5</c:v>
                </c:pt>
                <c:pt idx="18">
                  <c:v>5.5659999999999999E-5</c:v>
                </c:pt>
                <c:pt idx="19">
                  <c:v>4.7169999999999997E-5</c:v>
                </c:pt>
                <c:pt idx="20">
                  <c:v>4.6220000000000001E-5</c:v>
                </c:pt>
                <c:pt idx="21">
                  <c:v>4.2450000000000002E-5</c:v>
                </c:pt>
                <c:pt idx="22">
                  <c:v>3.773E-5</c:v>
                </c:pt>
                <c:pt idx="23">
                  <c:v>3.2070000000000003E-5</c:v>
                </c:pt>
                <c:pt idx="24">
                  <c:v>3.8680000000000002E-5</c:v>
                </c:pt>
                <c:pt idx="25">
                  <c:v>2.7359999999999999E-5</c:v>
                </c:pt>
                <c:pt idx="26">
                  <c:v>3.3019999999999999E-5</c:v>
                </c:pt>
                <c:pt idx="27">
                  <c:v>4.2450000000000002E-5</c:v>
                </c:pt>
                <c:pt idx="28">
                  <c:v>3.5849999999999997E-5</c:v>
                </c:pt>
                <c:pt idx="29">
                  <c:v>2.83E-5</c:v>
                </c:pt>
                <c:pt idx="30">
                  <c:v>3.396E-5</c:v>
                </c:pt>
                <c:pt idx="31">
                  <c:v>3.0190000000000001E-5</c:v>
                </c:pt>
                <c:pt idx="32">
                  <c:v>4.2450000000000002E-5</c:v>
                </c:pt>
                <c:pt idx="33">
                  <c:v>3.6789999999999998E-5</c:v>
                </c:pt>
                <c:pt idx="34">
                  <c:v>2.641E-5</c:v>
                </c:pt>
                <c:pt idx="35">
                  <c:v>3.3019999999999999E-5</c:v>
                </c:pt>
                <c:pt idx="36">
                  <c:v>3.4900000000000001E-5</c:v>
                </c:pt>
                <c:pt idx="37">
                  <c:v>3.3019999999999999E-5</c:v>
                </c:pt>
                <c:pt idx="38">
                  <c:v>1.9809999999999998E-5</c:v>
                </c:pt>
                <c:pt idx="39">
                  <c:v>3.1130000000000002E-5</c:v>
                </c:pt>
                <c:pt idx="40">
                  <c:v>2.5469999999999998E-5</c:v>
                </c:pt>
                <c:pt idx="41">
                  <c:v>3.1130000000000002E-5</c:v>
                </c:pt>
                <c:pt idx="42">
                  <c:v>2.9240000000000001E-5</c:v>
                </c:pt>
                <c:pt idx="43">
                  <c:v>2.4530000000000001E-5</c:v>
                </c:pt>
                <c:pt idx="44">
                  <c:v>2.1699999999999999E-5</c:v>
                </c:pt>
                <c:pt idx="45">
                  <c:v>2.264E-5</c:v>
                </c:pt>
                <c:pt idx="46">
                  <c:v>2.264E-5</c:v>
                </c:pt>
                <c:pt idx="47">
                  <c:v>1.6039999999999999E-5</c:v>
                </c:pt>
                <c:pt idx="48">
                  <c:v>3.1130000000000002E-5</c:v>
                </c:pt>
                <c:pt idx="49">
                  <c:v>2.075E-5</c:v>
                </c:pt>
                <c:pt idx="50">
                  <c:v>1.509E-5</c:v>
                </c:pt>
                <c:pt idx="51">
                  <c:v>2.075E-5</c:v>
                </c:pt>
                <c:pt idx="52">
                  <c:v>1.6039999999999999E-5</c:v>
                </c:pt>
                <c:pt idx="53">
                  <c:v>1.132E-5</c:v>
                </c:pt>
                <c:pt idx="54">
                  <c:v>1.9809999999999998E-5</c:v>
                </c:pt>
                <c:pt idx="55">
                  <c:v>2.075E-5</c:v>
                </c:pt>
                <c:pt idx="56">
                  <c:v>1.6039999999999999E-5</c:v>
                </c:pt>
                <c:pt idx="57">
                  <c:v>1.415E-5</c:v>
                </c:pt>
                <c:pt idx="58">
                  <c:v>1.7920000000000001E-5</c:v>
                </c:pt>
                <c:pt idx="59">
                  <c:v>8.49E-6</c:v>
                </c:pt>
                <c:pt idx="60">
                  <c:v>1.3210000000000001E-5</c:v>
                </c:pt>
                <c:pt idx="61">
                  <c:v>1.226E-5</c:v>
                </c:pt>
                <c:pt idx="62">
                  <c:v>1.7920000000000001E-5</c:v>
                </c:pt>
                <c:pt idx="63">
                  <c:v>1.3210000000000001E-5</c:v>
                </c:pt>
                <c:pt idx="64">
                  <c:v>7.5499999999999997E-6</c:v>
                </c:pt>
                <c:pt idx="65">
                  <c:v>8.49E-6</c:v>
                </c:pt>
                <c:pt idx="66">
                  <c:v>1.415E-5</c:v>
                </c:pt>
                <c:pt idx="67">
                  <c:v>1.698E-5</c:v>
                </c:pt>
                <c:pt idx="68">
                  <c:v>5.66E-6</c:v>
                </c:pt>
                <c:pt idx="69">
                  <c:v>9.4299999999999995E-6</c:v>
                </c:pt>
                <c:pt idx="70">
                  <c:v>1.132E-5</c:v>
                </c:pt>
                <c:pt idx="71">
                  <c:v>1.415E-5</c:v>
                </c:pt>
                <c:pt idx="72">
                  <c:v>1.415E-5</c:v>
                </c:pt>
                <c:pt idx="73">
                  <c:v>1.8899999999999999E-6</c:v>
                </c:pt>
                <c:pt idx="74">
                  <c:v>7.5499999999999997E-6</c:v>
                </c:pt>
                <c:pt idx="75">
                  <c:v>6.6000000000000003E-6</c:v>
                </c:pt>
                <c:pt idx="76">
                  <c:v>5.66E-6</c:v>
                </c:pt>
                <c:pt idx="77">
                  <c:v>8.49E-6</c:v>
                </c:pt>
                <c:pt idx="78">
                  <c:v>9.4299999999999995E-6</c:v>
                </c:pt>
                <c:pt idx="79">
                  <c:v>6.6000000000000003E-6</c:v>
                </c:pt>
                <c:pt idx="80">
                  <c:v>7.5499999999999997E-6</c:v>
                </c:pt>
                <c:pt idx="81">
                  <c:v>8.49E-6</c:v>
                </c:pt>
                <c:pt idx="82">
                  <c:v>6.6000000000000003E-6</c:v>
                </c:pt>
                <c:pt idx="83">
                  <c:v>1.132E-5</c:v>
                </c:pt>
                <c:pt idx="84">
                  <c:v>6.6000000000000003E-6</c:v>
                </c:pt>
                <c:pt idx="85">
                  <c:v>6.6000000000000003E-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73-4F7D-AE92-AD9DA4598E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ocenta 1 davka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87</c:f>
              <c:numCache>
                <c:formatCode>General</c:formatCode>
                <c:ptCount val="8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</c:numCache>
            </c:numRef>
          </c:cat>
          <c:val>
            <c:numRef>
              <c:f>List1!$C$2:$C$87</c:f>
              <c:numCache>
                <c:formatCode>0.00%</c:formatCode>
                <c:ptCount val="86"/>
                <c:pt idx="0">
                  <c:v>2.995E-5</c:v>
                </c:pt>
                <c:pt idx="1">
                  <c:v>8.9220000000000003E-5</c:v>
                </c:pt>
                <c:pt idx="2">
                  <c:v>1.6442E-4</c:v>
                </c:pt>
                <c:pt idx="3">
                  <c:v>2.2242E-4</c:v>
                </c:pt>
                <c:pt idx="4">
                  <c:v>3.3331000000000002E-4</c:v>
                </c:pt>
                <c:pt idx="5">
                  <c:v>4.8306999999999999E-4</c:v>
                </c:pt>
                <c:pt idx="6">
                  <c:v>5.9714999999999996E-4</c:v>
                </c:pt>
                <c:pt idx="7">
                  <c:v>7.1504999999999995E-4</c:v>
                </c:pt>
                <c:pt idx="8">
                  <c:v>6.9211000000000001E-4</c:v>
                </c:pt>
                <c:pt idx="9">
                  <c:v>6.5833000000000005E-4</c:v>
                </c:pt>
                <c:pt idx="10">
                  <c:v>6.2838E-4</c:v>
                </c:pt>
                <c:pt idx="11">
                  <c:v>6.9337999999999995E-4</c:v>
                </c:pt>
                <c:pt idx="12">
                  <c:v>6.1563000000000004E-4</c:v>
                </c:pt>
                <c:pt idx="13">
                  <c:v>6.6726000000000003E-4</c:v>
                </c:pt>
                <c:pt idx="14">
                  <c:v>6.6662000000000004E-4</c:v>
                </c:pt>
                <c:pt idx="15">
                  <c:v>4.7479E-4</c:v>
                </c:pt>
                <c:pt idx="16">
                  <c:v>4.2571999999999998E-4</c:v>
                </c:pt>
                <c:pt idx="17">
                  <c:v>3.7665000000000002E-4</c:v>
                </c:pt>
                <c:pt idx="18">
                  <c:v>3.5242999999999999E-4</c:v>
                </c:pt>
                <c:pt idx="19">
                  <c:v>3.8557000000000001E-4</c:v>
                </c:pt>
                <c:pt idx="20">
                  <c:v>4.2634999999999998E-4</c:v>
                </c:pt>
                <c:pt idx="21">
                  <c:v>3.3840999999999998E-4</c:v>
                </c:pt>
                <c:pt idx="22">
                  <c:v>2.3133999999999999E-4</c:v>
                </c:pt>
                <c:pt idx="23">
                  <c:v>1.8864000000000001E-4</c:v>
                </c:pt>
                <c:pt idx="24">
                  <c:v>1.6951999999999999E-4</c:v>
                </c:pt>
                <c:pt idx="25">
                  <c:v>1.5868999999999999E-4</c:v>
                </c:pt>
                <c:pt idx="26">
                  <c:v>1.8035999999999999E-4</c:v>
                </c:pt>
                <c:pt idx="27">
                  <c:v>1.4467000000000001E-4</c:v>
                </c:pt>
                <c:pt idx="28">
                  <c:v>1.4020999999999999E-4</c:v>
                </c:pt>
                <c:pt idx="29">
                  <c:v>9.1769999999999997E-5</c:v>
                </c:pt>
                <c:pt idx="30">
                  <c:v>6.6920000000000003E-5</c:v>
                </c:pt>
                <c:pt idx="31">
                  <c:v>8.03E-5</c:v>
                </c:pt>
                <c:pt idx="32">
                  <c:v>6.9469999999999997E-5</c:v>
                </c:pt>
                <c:pt idx="33">
                  <c:v>5.2899999999999998E-5</c:v>
                </c:pt>
                <c:pt idx="34">
                  <c:v>4.6520000000000002E-5</c:v>
                </c:pt>
                <c:pt idx="35">
                  <c:v>5.1619999999999997E-5</c:v>
                </c:pt>
                <c:pt idx="36">
                  <c:v>3.3779999999999998E-5</c:v>
                </c:pt>
                <c:pt idx="37">
                  <c:v>3.0589999999999997E-5</c:v>
                </c:pt>
                <c:pt idx="38">
                  <c:v>2.4219999999999999E-5</c:v>
                </c:pt>
                <c:pt idx="39">
                  <c:v>3.4409999999999998E-5</c:v>
                </c:pt>
                <c:pt idx="40">
                  <c:v>2.5490000000000002E-5</c:v>
                </c:pt>
                <c:pt idx="41">
                  <c:v>2.2310000000000002E-5</c:v>
                </c:pt>
                <c:pt idx="42">
                  <c:v>3.3139999999999998E-5</c:v>
                </c:pt>
                <c:pt idx="43">
                  <c:v>1.5299999999999999E-5</c:v>
                </c:pt>
                <c:pt idx="44">
                  <c:v>2.4219999999999999E-5</c:v>
                </c:pt>
                <c:pt idx="45">
                  <c:v>1.721E-5</c:v>
                </c:pt>
                <c:pt idx="46">
                  <c:v>1.402E-5</c:v>
                </c:pt>
                <c:pt idx="47">
                  <c:v>1.721E-5</c:v>
                </c:pt>
                <c:pt idx="48">
                  <c:v>1.9760000000000001E-5</c:v>
                </c:pt>
                <c:pt idx="49">
                  <c:v>2.3580000000000001E-5</c:v>
                </c:pt>
                <c:pt idx="50">
                  <c:v>1.9760000000000001E-5</c:v>
                </c:pt>
                <c:pt idx="51">
                  <c:v>1.2109999999999999E-5</c:v>
                </c:pt>
                <c:pt idx="52">
                  <c:v>1.5299999999999999E-5</c:v>
                </c:pt>
                <c:pt idx="53">
                  <c:v>8.2800000000000003E-6</c:v>
                </c:pt>
                <c:pt idx="54">
                  <c:v>1.147E-5</c:v>
                </c:pt>
                <c:pt idx="55">
                  <c:v>1.721E-5</c:v>
                </c:pt>
                <c:pt idx="56">
                  <c:v>1.466E-5</c:v>
                </c:pt>
                <c:pt idx="57">
                  <c:v>1.3380000000000001E-5</c:v>
                </c:pt>
                <c:pt idx="58">
                  <c:v>1.9099999999999999E-6</c:v>
                </c:pt>
                <c:pt idx="59">
                  <c:v>7.0099999999999998E-6</c:v>
                </c:pt>
                <c:pt idx="60">
                  <c:v>8.9199999999999993E-6</c:v>
                </c:pt>
                <c:pt idx="61">
                  <c:v>5.1000000000000003E-6</c:v>
                </c:pt>
                <c:pt idx="62">
                  <c:v>3.8199999999999998E-6</c:v>
                </c:pt>
                <c:pt idx="63">
                  <c:v>7.6499999999999996E-6</c:v>
                </c:pt>
                <c:pt idx="64">
                  <c:v>7.0099999999999998E-6</c:v>
                </c:pt>
                <c:pt idx="65">
                  <c:v>3.8199999999999998E-6</c:v>
                </c:pt>
                <c:pt idx="66">
                  <c:v>3.19E-6</c:v>
                </c:pt>
                <c:pt idx="67">
                  <c:v>2.5500000000000001E-6</c:v>
                </c:pt>
                <c:pt idx="68">
                  <c:v>1.9099999999999999E-6</c:v>
                </c:pt>
                <c:pt idx="69">
                  <c:v>1.9099999999999999E-6</c:v>
                </c:pt>
                <c:pt idx="70">
                  <c:v>1.9099999999999999E-6</c:v>
                </c:pt>
                <c:pt idx="71">
                  <c:v>1.2699999999999999E-6</c:v>
                </c:pt>
                <c:pt idx="72">
                  <c:v>1.2699999999999999E-6</c:v>
                </c:pt>
                <c:pt idx="73">
                  <c:v>6.4000000000000001E-7</c:v>
                </c:pt>
                <c:pt idx="74">
                  <c:v>6.4000000000000001E-7</c:v>
                </c:pt>
                <c:pt idx="75">
                  <c:v>6.4000000000000001E-7</c:v>
                </c:pt>
                <c:pt idx="76">
                  <c:v>6.4000000000000001E-7</c:v>
                </c:pt>
                <c:pt idx="77">
                  <c:v>6.4000000000000001E-7</c:v>
                </c:pt>
                <c:pt idx="78">
                  <c:v>1.2699999999999999E-6</c:v>
                </c:pt>
                <c:pt idx="79">
                  <c:v>0</c:v>
                </c:pt>
                <c:pt idx="80">
                  <c:v>6.4000000000000001E-7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73-4F7D-AE92-AD9DA4598E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26870383"/>
        <c:axId val="1680393071"/>
      </c:lineChart>
      <c:catAx>
        <c:axId val="15268703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80393071"/>
        <c:crosses val="autoZero"/>
        <c:auto val="1"/>
        <c:lblAlgn val="ctr"/>
        <c:lblOffset val="100"/>
        <c:tickLblSkip val="7"/>
        <c:tickMarkSkip val="7"/>
        <c:noMultiLvlLbl val="0"/>
      </c:catAx>
      <c:valAx>
        <c:axId val="1680393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26870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386179302602063E-2"/>
          <c:y val="2.2410741472614397E-2"/>
          <c:w val="0.81797922860901429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8.55325090882967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28</c:f>
              <c:numCache>
                <c:formatCode>dd/mm/yy;@</c:formatCode>
                <c:ptCount val="127"/>
                <c:pt idx="0">
                  <c:v>44199</c:v>
                </c:pt>
                <c:pt idx="1">
                  <c:v>44200</c:v>
                </c:pt>
                <c:pt idx="2">
                  <c:v>44201</c:v>
                </c:pt>
                <c:pt idx="3">
                  <c:v>44202</c:v>
                </c:pt>
                <c:pt idx="4">
                  <c:v>44203</c:v>
                </c:pt>
                <c:pt idx="5">
                  <c:v>44204</c:v>
                </c:pt>
                <c:pt idx="6">
                  <c:v>44205</c:v>
                </c:pt>
                <c:pt idx="7">
                  <c:v>44206</c:v>
                </c:pt>
                <c:pt idx="8">
                  <c:v>44207</c:v>
                </c:pt>
                <c:pt idx="9">
                  <c:v>44208</c:v>
                </c:pt>
                <c:pt idx="10">
                  <c:v>44209</c:v>
                </c:pt>
                <c:pt idx="11">
                  <c:v>44210</c:v>
                </c:pt>
                <c:pt idx="12">
                  <c:v>44211</c:v>
                </c:pt>
                <c:pt idx="13">
                  <c:v>44212</c:v>
                </c:pt>
                <c:pt idx="14">
                  <c:v>44213</c:v>
                </c:pt>
                <c:pt idx="15">
                  <c:v>44214</c:v>
                </c:pt>
                <c:pt idx="16">
                  <c:v>44215</c:v>
                </c:pt>
                <c:pt idx="17">
                  <c:v>44216</c:v>
                </c:pt>
                <c:pt idx="18">
                  <c:v>44217</c:v>
                </c:pt>
                <c:pt idx="19">
                  <c:v>44218</c:v>
                </c:pt>
                <c:pt idx="20">
                  <c:v>44219</c:v>
                </c:pt>
                <c:pt idx="21">
                  <c:v>44220</c:v>
                </c:pt>
                <c:pt idx="22">
                  <c:v>44221</c:v>
                </c:pt>
                <c:pt idx="23">
                  <c:v>44222</c:v>
                </c:pt>
                <c:pt idx="24">
                  <c:v>44223</c:v>
                </c:pt>
                <c:pt idx="25">
                  <c:v>44224</c:v>
                </c:pt>
                <c:pt idx="26">
                  <c:v>44225</c:v>
                </c:pt>
                <c:pt idx="27">
                  <c:v>44226</c:v>
                </c:pt>
                <c:pt idx="28">
                  <c:v>44227</c:v>
                </c:pt>
                <c:pt idx="29">
                  <c:v>44228</c:v>
                </c:pt>
                <c:pt idx="30">
                  <c:v>44229</c:v>
                </c:pt>
                <c:pt idx="31">
                  <c:v>44230</c:v>
                </c:pt>
                <c:pt idx="32">
                  <c:v>44231</c:v>
                </c:pt>
                <c:pt idx="33">
                  <c:v>44232</c:v>
                </c:pt>
                <c:pt idx="34">
                  <c:v>44233</c:v>
                </c:pt>
                <c:pt idx="35">
                  <c:v>44234</c:v>
                </c:pt>
                <c:pt idx="36">
                  <c:v>44235</c:v>
                </c:pt>
                <c:pt idx="37">
                  <c:v>44236</c:v>
                </c:pt>
                <c:pt idx="38">
                  <c:v>44237</c:v>
                </c:pt>
                <c:pt idx="39">
                  <c:v>44238</c:v>
                </c:pt>
                <c:pt idx="40">
                  <c:v>44239</c:v>
                </c:pt>
                <c:pt idx="41">
                  <c:v>44240</c:v>
                </c:pt>
                <c:pt idx="42">
                  <c:v>44241</c:v>
                </c:pt>
                <c:pt idx="43">
                  <c:v>44242</c:v>
                </c:pt>
                <c:pt idx="44">
                  <c:v>44243</c:v>
                </c:pt>
                <c:pt idx="45">
                  <c:v>44244</c:v>
                </c:pt>
                <c:pt idx="46">
                  <c:v>44245</c:v>
                </c:pt>
                <c:pt idx="47">
                  <c:v>44246</c:v>
                </c:pt>
                <c:pt idx="48">
                  <c:v>44247</c:v>
                </c:pt>
                <c:pt idx="49">
                  <c:v>44248</c:v>
                </c:pt>
                <c:pt idx="50">
                  <c:v>44249</c:v>
                </c:pt>
                <c:pt idx="51">
                  <c:v>44250</c:v>
                </c:pt>
                <c:pt idx="52">
                  <c:v>44251</c:v>
                </c:pt>
                <c:pt idx="53">
                  <c:v>44252</c:v>
                </c:pt>
                <c:pt idx="54">
                  <c:v>44253</c:v>
                </c:pt>
                <c:pt idx="55">
                  <c:v>44254</c:v>
                </c:pt>
                <c:pt idx="56">
                  <c:v>44255</c:v>
                </c:pt>
                <c:pt idx="57">
                  <c:v>44256</c:v>
                </c:pt>
                <c:pt idx="58">
                  <c:v>44257</c:v>
                </c:pt>
                <c:pt idx="59">
                  <c:v>44258</c:v>
                </c:pt>
                <c:pt idx="60">
                  <c:v>44259</c:v>
                </c:pt>
                <c:pt idx="61">
                  <c:v>44260</c:v>
                </c:pt>
                <c:pt idx="62">
                  <c:v>44261</c:v>
                </c:pt>
                <c:pt idx="63">
                  <c:v>44262</c:v>
                </c:pt>
                <c:pt idx="64">
                  <c:v>44263</c:v>
                </c:pt>
                <c:pt idx="65">
                  <c:v>44264</c:v>
                </c:pt>
                <c:pt idx="66">
                  <c:v>44265</c:v>
                </c:pt>
                <c:pt idx="67">
                  <c:v>44266</c:v>
                </c:pt>
                <c:pt idx="68">
                  <c:v>44267</c:v>
                </c:pt>
                <c:pt idx="69">
                  <c:v>44268</c:v>
                </c:pt>
                <c:pt idx="70">
                  <c:v>44269</c:v>
                </c:pt>
                <c:pt idx="71">
                  <c:v>44270</c:v>
                </c:pt>
                <c:pt idx="72">
                  <c:v>44271</c:v>
                </c:pt>
                <c:pt idx="73">
                  <c:v>44272</c:v>
                </c:pt>
                <c:pt idx="74">
                  <c:v>44273</c:v>
                </c:pt>
                <c:pt idx="75">
                  <c:v>44274</c:v>
                </c:pt>
                <c:pt idx="76">
                  <c:v>44275</c:v>
                </c:pt>
                <c:pt idx="77">
                  <c:v>44276</c:v>
                </c:pt>
                <c:pt idx="78">
                  <c:v>44277</c:v>
                </c:pt>
                <c:pt idx="79">
                  <c:v>44278</c:v>
                </c:pt>
                <c:pt idx="80">
                  <c:v>44279</c:v>
                </c:pt>
                <c:pt idx="81">
                  <c:v>44280</c:v>
                </c:pt>
                <c:pt idx="82">
                  <c:v>44281</c:v>
                </c:pt>
                <c:pt idx="83">
                  <c:v>44282</c:v>
                </c:pt>
                <c:pt idx="84">
                  <c:v>44283</c:v>
                </c:pt>
                <c:pt idx="85">
                  <c:v>44284</c:v>
                </c:pt>
                <c:pt idx="86">
                  <c:v>44285</c:v>
                </c:pt>
                <c:pt idx="87">
                  <c:v>44286</c:v>
                </c:pt>
                <c:pt idx="88">
                  <c:v>44287</c:v>
                </c:pt>
                <c:pt idx="89">
                  <c:v>44288</c:v>
                </c:pt>
                <c:pt idx="90">
                  <c:v>44289</c:v>
                </c:pt>
                <c:pt idx="91">
                  <c:v>44290</c:v>
                </c:pt>
                <c:pt idx="92">
                  <c:v>44291</c:v>
                </c:pt>
                <c:pt idx="93">
                  <c:v>44292</c:v>
                </c:pt>
                <c:pt idx="94">
                  <c:v>44293</c:v>
                </c:pt>
                <c:pt idx="95">
                  <c:v>44294</c:v>
                </c:pt>
                <c:pt idx="96">
                  <c:v>44295</c:v>
                </c:pt>
                <c:pt idx="97">
                  <c:v>44296</c:v>
                </c:pt>
                <c:pt idx="98">
                  <c:v>44297</c:v>
                </c:pt>
                <c:pt idx="99">
                  <c:v>44298</c:v>
                </c:pt>
                <c:pt idx="100">
                  <c:v>44299</c:v>
                </c:pt>
                <c:pt idx="101">
                  <c:v>44300</c:v>
                </c:pt>
                <c:pt idx="102">
                  <c:v>44301</c:v>
                </c:pt>
                <c:pt idx="103">
                  <c:v>44302</c:v>
                </c:pt>
                <c:pt idx="104">
                  <c:v>44303</c:v>
                </c:pt>
                <c:pt idx="105">
                  <c:v>44304</c:v>
                </c:pt>
                <c:pt idx="106">
                  <c:v>44305</c:v>
                </c:pt>
                <c:pt idx="107">
                  <c:v>44306</c:v>
                </c:pt>
                <c:pt idx="108">
                  <c:v>44307</c:v>
                </c:pt>
                <c:pt idx="109">
                  <c:v>44308</c:v>
                </c:pt>
                <c:pt idx="110">
                  <c:v>44309</c:v>
                </c:pt>
                <c:pt idx="111">
                  <c:v>44310</c:v>
                </c:pt>
                <c:pt idx="112">
                  <c:v>44311</c:v>
                </c:pt>
                <c:pt idx="113">
                  <c:v>44312</c:v>
                </c:pt>
                <c:pt idx="114">
                  <c:v>44313</c:v>
                </c:pt>
                <c:pt idx="115">
                  <c:v>44314</c:v>
                </c:pt>
                <c:pt idx="116">
                  <c:v>44315</c:v>
                </c:pt>
                <c:pt idx="117">
                  <c:v>44316</c:v>
                </c:pt>
                <c:pt idx="118">
                  <c:v>44317</c:v>
                </c:pt>
                <c:pt idx="119">
                  <c:v>44318</c:v>
                </c:pt>
                <c:pt idx="120">
                  <c:v>44319</c:v>
                </c:pt>
                <c:pt idx="121">
                  <c:v>44320</c:v>
                </c:pt>
                <c:pt idx="122">
                  <c:v>44321</c:v>
                </c:pt>
                <c:pt idx="123">
                  <c:v>44322</c:v>
                </c:pt>
                <c:pt idx="124">
                  <c:v>44323</c:v>
                </c:pt>
                <c:pt idx="125">
                  <c:v>44324</c:v>
                </c:pt>
                <c:pt idx="126">
                  <c:v>44325</c:v>
                </c:pt>
              </c:numCache>
            </c:numRef>
          </c:cat>
          <c:val>
            <c:numRef>
              <c:f>List1!$B$2:$B$128</c:f>
              <c:numCache>
                <c:formatCode>General</c:formatCode>
                <c:ptCount val="127"/>
                <c:pt idx="0">
                  <c:v>1245</c:v>
                </c:pt>
                <c:pt idx="1">
                  <c:v>1491</c:v>
                </c:pt>
                <c:pt idx="2">
                  <c:v>1610</c:v>
                </c:pt>
                <c:pt idx="3">
                  <c:v>1682</c:v>
                </c:pt>
                <c:pt idx="4">
                  <c:v>1740</c:v>
                </c:pt>
                <c:pt idx="5">
                  <c:v>1639</c:v>
                </c:pt>
                <c:pt idx="6">
                  <c:v>1524</c:v>
                </c:pt>
                <c:pt idx="7">
                  <c:v>1405</c:v>
                </c:pt>
                <c:pt idx="8">
                  <c:v>1548</c:v>
                </c:pt>
                <c:pt idx="9">
                  <c:v>1630</c:v>
                </c:pt>
                <c:pt idx="10">
                  <c:v>1699</c:v>
                </c:pt>
                <c:pt idx="11">
                  <c:v>1698</c:v>
                </c:pt>
                <c:pt idx="12">
                  <c:v>1555</c:v>
                </c:pt>
                <c:pt idx="13">
                  <c:v>1412</c:v>
                </c:pt>
                <c:pt idx="14">
                  <c:v>1303</c:v>
                </c:pt>
                <c:pt idx="15">
                  <c:v>1298</c:v>
                </c:pt>
                <c:pt idx="16">
                  <c:v>1247</c:v>
                </c:pt>
                <c:pt idx="17">
                  <c:v>1279</c:v>
                </c:pt>
                <c:pt idx="18">
                  <c:v>1304</c:v>
                </c:pt>
                <c:pt idx="19">
                  <c:v>1208</c:v>
                </c:pt>
                <c:pt idx="20">
                  <c:v>1133</c:v>
                </c:pt>
                <c:pt idx="21">
                  <c:v>1023</c:v>
                </c:pt>
                <c:pt idx="22">
                  <c:v>1036</c:v>
                </c:pt>
                <c:pt idx="23">
                  <c:v>1039</c:v>
                </c:pt>
                <c:pt idx="24">
                  <c:v>1064</c:v>
                </c:pt>
                <c:pt idx="25">
                  <c:v>1076</c:v>
                </c:pt>
                <c:pt idx="26">
                  <c:v>991</c:v>
                </c:pt>
                <c:pt idx="27">
                  <c:v>924</c:v>
                </c:pt>
                <c:pt idx="28">
                  <c:v>847</c:v>
                </c:pt>
                <c:pt idx="29">
                  <c:v>865</c:v>
                </c:pt>
                <c:pt idx="30">
                  <c:v>859</c:v>
                </c:pt>
                <c:pt idx="31">
                  <c:v>893</c:v>
                </c:pt>
                <c:pt idx="32">
                  <c:v>914</c:v>
                </c:pt>
                <c:pt idx="33">
                  <c:v>856</c:v>
                </c:pt>
                <c:pt idx="34">
                  <c:v>788</c:v>
                </c:pt>
                <c:pt idx="35">
                  <c:v>746</c:v>
                </c:pt>
                <c:pt idx="36">
                  <c:v>767</c:v>
                </c:pt>
                <c:pt idx="37">
                  <c:v>737</c:v>
                </c:pt>
                <c:pt idx="38">
                  <c:v>755</c:v>
                </c:pt>
                <c:pt idx="39">
                  <c:v>781</c:v>
                </c:pt>
                <c:pt idx="40">
                  <c:v>743</c:v>
                </c:pt>
                <c:pt idx="41">
                  <c:v>683</c:v>
                </c:pt>
                <c:pt idx="42">
                  <c:v>631</c:v>
                </c:pt>
                <c:pt idx="43">
                  <c:v>648</c:v>
                </c:pt>
                <c:pt idx="44">
                  <c:v>638</c:v>
                </c:pt>
                <c:pt idx="45">
                  <c:v>661</c:v>
                </c:pt>
                <c:pt idx="46">
                  <c:v>674</c:v>
                </c:pt>
                <c:pt idx="47">
                  <c:v>643</c:v>
                </c:pt>
                <c:pt idx="48">
                  <c:v>605</c:v>
                </c:pt>
                <c:pt idx="49">
                  <c:v>579</c:v>
                </c:pt>
                <c:pt idx="50">
                  <c:v>605</c:v>
                </c:pt>
                <c:pt idx="51">
                  <c:v>617</c:v>
                </c:pt>
                <c:pt idx="52">
                  <c:v>632</c:v>
                </c:pt>
                <c:pt idx="53">
                  <c:v>656</c:v>
                </c:pt>
                <c:pt idx="54">
                  <c:v>632</c:v>
                </c:pt>
                <c:pt idx="55">
                  <c:v>585</c:v>
                </c:pt>
                <c:pt idx="56">
                  <c:v>550</c:v>
                </c:pt>
                <c:pt idx="57">
                  <c:v>572</c:v>
                </c:pt>
                <c:pt idx="58">
                  <c:v>566</c:v>
                </c:pt>
                <c:pt idx="59">
                  <c:v>604</c:v>
                </c:pt>
                <c:pt idx="60">
                  <c:v>624</c:v>
                </c:pt>
                <c:pt idx="61">
                  <c:v>575</c:v>
                </c:pt>
                <c:pt idx="62">
                  <c:v>524</c:v>
                </c:pt>
                <c:pt idx="63">
                  <c:v>492</c:v>
                </c:pt>
                <c:pt idx="64">
                  <c:v>508</c:v>
                </c:pt>
                <c:pt idx="65">
                  <c:v>493</c:v>
                </c:pt>
                <c:pt idx="66">
                  <c:v>514</c:v>
                </c:pt>
                <c:pt idx="67">
                  <c:v>527</c:v>
                </c:pt>
                <c:pt idx="68">
                  <c:v>544</c:v>
                </c:pt>
                <c:pt idx="69">
                  <c:v>554</c:v>
                </c:pt>
                <c:pt idx="70">
                  <c:v>560</c:v>
                </c:pt>
                <c:pt idx="71">
                  <c:v>593</c:v>
                </c:pt>
                <c:pt idx="72">
                  <c:v>556</c:v>
                </c:pt>
                <c:pt idx="73">
                  <c:v>532</c:v>
                </c:pt>
                <c:pt idx="74">
                  <c:v>494</c:v>
                </c:pt>
                <c:pt idx="75">
                  <c:v>473</c:v>
                </c:pt>
                <c:pt idx="76">
                  <c:v>440</c:v>
                </c:pt>
                <c:pt idx="77">
                  <c:v>435</c:v>
                </c:pt>
                <c:pt idx="78">
                  <c:v>455</c:v>
                </c:pt>
                <c:pt idx="79">
                  <c:v>410</c:v>
                </c:pt>
                <c:pt idx="80">
                  <c:v>386</c:v>
                </c:pt>
                <c:pt idx="81">
                  <c:v>358</c:v>
                </c:pt>
                <c:pt idx="82">
                  <c:v>347</c:v>
                </c:pt>
                <c:pt idx="83">
                  <c:v>324</c:v>
                </c:pt>
                <c:pt idx="84">
                  <c:v>317</c:v>
                </c:pt>
                <c:pt idx="85">
                  <c:v>323</c:v>
                </c:pt>
                <c:pt idx="86">
                  <c:v>306</c:v>
                </c:pt>
                <c:pt idx="87">
                  <c:v>278</c:v>
                </c:pt>
                <c:pt idx="88">
                  <c:v>269</c:v>
                </c:pt>
                <c:pt idx="89">
                  <c:v>243</c:v>
                </c:pt>
                <c:pt idx="90">
                  <c:v>227</c:v>
                </c:pt>
                <c:pt idx="91">
                  <c:v>226</c:v>
                </c:pt>
                <c:pt idx="92">
                  <c:v>228</c:v>
                </c:pt>
                <c:pt idx="93">
                  <c:v>213</c:v>
                </c:pt>
                <c:pt idx="94">
                  <c:v>205</c:v>
                </c:pt>
                <c:pt idx="95">
                  <c:v>203</c:v>
                </c:pt>
                <c:pt idx="96">
                  <c:v>197</c:v>
                </c:pt>
                <c:pt idx="97">
                  <c:v>182</c:v>
                </c:pt>
                <c:pt idx="98">
                  <c:v>178</c:v>
                </c:pt>
                <c:pt idx="99">
                  <c:v>183</c:v>
                </c:pt>
                <c:pt idx="100">
                  <c:v>159</c:v>
                </c:pt>
                <c:pt idx="101">
                  <c:v>152</c:v>
                </c:pt>
                <c:pt idx="102">
                  <c:v>145</c:v>
                </c:pt>
                <c:pt idx="103">
                  <c:v>142</c:v>
                </c:pt>
                <c:pt idx="104">
                  <c:v>141</c:v>
                </c:pt>
                <c:pt idx="105">
                  <c:v>137</c:v>
                </c:pt>
                <c:pt idx="106">
                  <c:v>144</c:v>
                </c:pt>
                <c:pt idx="107">
                  <c:v>137</c:v>
                </c:pt>
                <c:pt idx="108">
                  <c:v>113</c:v>
                </c:pt>
                <c:pt idx="109">
                  <c:v>94</c:v>
                </c:pt>
                <c:pt idx="110">
                  <c:v>87</c:v>
                </c:pt>
                <c:pt idx="111">
                  <c:v>82</c:v>
                </c:pt>
                <c:pt idx="112">
                  <c:v>80</c:v>
                </c:pt>
                <c:pt idx="113">
                  <c:v>83</c:v>
                </c:pt>
                <c:pt idx="114">
                  <c:v>77</c:v>
                </c:pt>
                <c:pt idx="115">
                  <c:v>74</c:v>
                </c:pt>
                <c:pt idx="116">
                  <c:v>69</c:v>
                </c:pt>
                <c:pt idx="117">
                  <c:v>64</c:v>
                </c:pt>
                <c:pt idx="118">
                  <c:v>61</c:v>
                </c:pt>
                <c:pt idx="119">
                  <c:v>59</c:v>
                </c:pt>
                <c:pt idx="120">
                  <c:v>62</c:v>
                </c:pt>
                <c:pt idx="121">
                  <c:v>54</c:v>
                </c:pt>
                <c:pt idx="122">
                  <c:v>49</c:v>
                </c:pt>
                <c:pt idx="123">
                  <c:v>45</c:v>
                </c:pt>
                <c:pt idx="124">
                  <c:v>46</c:v>
                </c:pt>
                <c:pt idx="125">
                  <c:v>45</c:v>
                </c:pt>
                <c:pt idx="126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28</c:f>
              <c:numCache>
                <c:formatCode>m/d/yyyy</c:formatCode>
                <c:ptCount val="127"/>
                <c:pt idx="0">
                  <c:v>44199</c:v>
                </c:pt>
                <c:pt idx="1">
                  <c:v>44200</c:v>
                </c:pt>
                <c:pt idx="2">
                  <c:v>44201</c:v>
                </c:pt>
                <c:pt idx="3">
                  <c:v>44202</c:v>
                </c:pt>
                <c:pt idx="4">
                  <c:v>44203</c:v>
                </c:pt>
                <c:pt idx="5">
                  <c:v>44204</c:v>
                </c:pt>
                <c:pt idx="6">
                  <c:v>44205</c:v>
                </c:pt>
                <c:pt idx="7">
                  <c:v>44206</c:v>
                </c:pt>
                <c:pt idx="8">
                  <c:v>44207</c:v>
                </c:pt>
                <c:pt idx="9">
                  <c:v>44208</c:v>
                </c:pt>
                <c:pt idx="10">
                  <c:v>44209</c:v>
                </c:pt>
                <c:pt idx="11">
                  <c:v>44210</c:v>
                </c:pt>
                <c:pt idx="12">
                  <c:v>44211</c:v>
                </c:pt>
                <c:pt idx="13">
                  <c:v>44212</c:v>
                </c:pt>
                <c:pt idx="14">
                  <c:v>44213</c:v>
                </c:pt>
                <c:pt idx="15">
                  <c:v>44214</c:v>
                </c:pt>
                <c:pt idx="16">
                  <c:v>44215</c:v>
                </c:pt>
                <c:pt idx="17">
                  <c:v>44216</c:v>
                </c:pt>
                <c:pt idx="18">
                  <c:v>44217</c:v>
                </c:pt>
                <c:pt idx="19">
                  <c:v>44218</c:v>
                </c:pt>
                <c:pt idx="20">
                  <c:v>44219</c:v>
                </c:pt>
                <c:pt idx="21">
                  <c:v>44220</c:v>
                </c:pt>
                <c:pt idx="22">
                  <c:v>44221</c:v>
                </c:pt>
                <c:pt idx="23">
                  <c:v>44222</c:v>
                </c:pt>
                <c:pt idx="24">
                  <c:v>44223</c:v>
                </c:pt>
                <c:pt idx="25">
                  <c:v>44224</c:v>
                </c:pt>
                <c:pt idx="26">
                  <c:v>44225</c:v>
                </c:pt>
                <c:pt idx="27">
                  <c:v>44226</c:v>
                </c:pt>
                <c:pt idx="28">
                  <c:v>44227</c:v>
                </c:pt>
                <c:pt idx="29">
                  <c:v>44228</c:v>
                </c:pt>
                <c:pt idx="30">
                  <c:v>44229</c:v>
                </c:pt>
                <c:pt idx="31">
                  <c:v>44230</c:v>
                </c:pt>
                <c:pt idx="32">
                  <c:v>44231</c:v>
                </c:pt>
                <c:pt idx="33">
                  <c:v>44232</c:v>
                </c:pt>
                <c:pt idx="34">
                  <c:v>44233</c:v>
                </c:pt>
                <c:pt idx="35">
                  <c:v>44234</c:v>
                </c:pt>
                <c:pt idx="36">
                  <c:v>44235</c:v>
                </c:pt>
                <c:pt idx="37">
                  <c:v>44236</c:v>
                </c:pt>
                <c:pt idx="38">
                  <c:v>44237</c:v>
                </c:pt>
                <c:pt idx="39">
                  <c:v>44238</c:v>
                </c:pt>
                <c:pt idx="40">
                  <c:v>44239</c:v>
                </c:pt>
                <c:pt idx="41">
                  <c:v>44240</c:v>
                </c:pt>
                <c:pt idx="42">
                  <c:v>44241</c:v>
                </c:pt>
                <c:pt idx="43">
                  <c:v>44242</c:v>
                </c:pt>
                <c:pt idx="44">
                  <c:v>44243</c:v>
                </c:pt>
                <c:pt idx="45">
                  <c:v>44244</c:v>
                </c:pt>
                <c:pt idx="46">
                  <c:v>44245</c:v>
                </c:pt>
                <c:pt idx="47">
                  <c:v>44246</c:v>
                </c:pt>
                <c:pt idx="48">
                  <c:v>44247</c:v>
                </c:pt>
                <c:pt idx="49">
                  <c:v>44248</c:v>
                </c:pt>
                <c:pt idx="50">
                  <c:v>44249</c:v>
                </c:pt>
                <c:pt idx="51">
                  <c:v>44250</c:v>
                </c:pt>
                <c:pt idx="52">
                  <c:v>44251</c:v>
                </c:pt>
                <c:pt idx="53">
                  <c:v>44252</c:v>
                </c:pt>
                <c:pt idx="54">
                  <c:v>44253</c:v>
                </c:pt>
                <c:pt idx="55">
                  <c:v>44254</c:v>
                </c:pt>
                <c:pt idx="56">
                  <c:v>44255</c:v>
                </c:pt>
                <c:pt idx="57">
                  <c:v>44256</c:v>
                </c:pt>
                <c:pt idx="58">
                  <c:v>44257</c:v>
                </c:pt>
                <c:pt idx="59">
                  <c:v>44258</c:v>
                </c:pt>
                <c:pt idx="60">
                  <c:v>44259</c:v>
                </c:pt>
                <c:pt idx="61">
                  <c:v>44260</c:v>
                </c:pt>
                <c:pt idx="62">
                  <c:v>44261</c:v>
                </c:pt>
                <c:pt idx="63">
                  <c:v>44262</c:v>
                </c:pt>
                <c:pt idx="64">
                  <c:v>44263</c:v>
                </c:pt>
                <c:pt idx="65">
                  <c:v>44264</c:v>
                </c:pt>
                <c:pt idx="66">
                  <c:v>44265</c:v>
                </c:pt>
                <c:pt idx="67">
                  <c:v>44266</c:v>
                </c:pt>
                <c:pt idx="68">
                  <c:v>44267</c:v>
                </c:pt>
                <c:pt idx="69">
                  <c:v>44268</c:v>
                </c:pt>
                <c:pt idx="70">
                  <c:v>44269</c:v>
                </c:pt>
                <c:pt idx="71">
                  <c:v>44270</c:v>
                </c:pt>
                <c:pt idx="72">
                  <c:v>44271</c:v>
                </c:pt>
                <c:pt idx="73">
                  <c:v>44272</c:v>
                </c:pt>
                <c:pt idx="74">
                  <c:v>44273</c:v>
                </c:pt>
                <c:pt idx="75">
                  <c:v>44274</c:v>
                </c:pt>
                <c:pt idx="76">
                  <c:v>44275</c:v>
                </c:pt>
                <c:pt idx="77">
                  <c:v>44276</c:v>
                </c:pt>
                <c:pt idx="78">
                  <c:v>44277</c:v>
                </c:pt>
                <c:pt idx="79">
                  <c:v>44278</c:v>
                </c:pt>
                <c:pt idx="80">
                  <c:v>44279</c:v>
                </c:pt>
                <c:pt idx="81">
                  <c:v>44280</c:v>
                </c:pt>
                <c:pt idx="82">
                  <c:v>44281</c:v>
                </c:pt>
                <c:pt idx="83">
                  <c:v>44282</c:v>
                </c:pt>
                <c:pt idx="84">
                  <c:v>44283</c:v>
                </c:pt>
                <c:pt idx="85">
                  <c:v>44284</c:v>
                </c:pt>
                <c:pt idx="86">
                  <c:v>44285</c:v>
                </c:pt>
                <c:pt idx="87">
                  <c:v>44286</c:v>
                </c:pt>
                <c:pt idx="88">
                  <c:v>44287</c:v>
                </c:pt>
                <c:pt idx="89">
                  <c:v>44288</c:v>
                </c:pt>
                <c:pt idx="90">
                  <c:v>44289</c:v>
                </c:pt>
                <c:pt idx="91">
                  <c:v>44290</c:v>
                </c:pt>
                <c:pt idx="92">
                  <c:v>44291</c:v>
                </c:pt>
                <c:pt idx="93">
                  <c:v>44292</c:v>
                </c:pt>
                <c:pt idx="94">
                  <c:v>44293</c:v>
                </c:pt>
                <c:pt idx="95">
                  <c:v>44294</c:v>
                </c:pt>
                <c:pt idx="96">
                  <c:v>44295</c:v>
                </c:pt>
                <c:pt idx="97">
                  <c:v>44296</c:v>
                </c:pt>
                <c:pt idx="98">
                  <c:v>44297</c:v>
                </c:pt>
                <c:pt idx="99">
                  <c:v>44298</c:v>
                </c:pt>
                <c:pt idx="100">
                  <c:v>44299</c:v>
                </c:pt>
                <c:pt idx="101">
                  <c:v>44300</c:v>
                </c:pt>
                <c:pt idx="102">
                  <c:v>44301</c:v>
                </c:pt>
                <c:pt idx="103">
                  <c:v>44302</c:v>
                </c:pt>
                <c:pt idx="104">
                  <c:v>44303</c:v>
                </c:pt>
                <c:pt idx="105">
                  <c:v>44304</c:v>
                </c:pt>
                <c:pt idx="106">
                  <c:v>44305</c:v>
                </c:pt>
                <c:pt idx="107">
                  <c:v>44306</c:v>
                </c:pt>
                <c:pt idx="108">
                  <c:v>44307</c:v>
                </c:pt>
                <c:pt idx="109">
                  <c:v>44308</c:v>
                </c:pt>
                <c:pt idx="110">
                  <c:v>44309</c:v>
                </c:pt>
                <c:pt idx="111">
                  <c:v>44310</c:v>
                </c:pt>
                <c:pt idx="112">
                  <c:v>44311</c:v>
                </c:pt>
                <c:pt idx="113">
                  <c:v>44312</c:v>
                </c:pt>
                <c:pt idx="114">
                  <c:v>44313</c:v>
                </c:pt>
                <c:pt idx="115">
                  <c:v>44314</c:v>
                </c:pt>
                <c:pt idx="116">
                  <c:v>44315</c:v>
                </c:pt>
                <c:pt idx="117">
                  <c:v>44316</c:v>
                </c:pt>
                <c:pt idx="118">
                  <c:v>44317</c:v>
                </c:pt>
                <c:pt idx="119">
                  <c:v>44318</c:v>
                </c:pt>
                <c:pt idx="120">
                  <c:v>44319</c:v>
                </c:pt>
                <c:pt idx="121">
                  <c:v>44320</c:v>
                </c:pt>
                <c:pt idx="122">
                  <c:v>44321</c:v>
                </c:pt>
                <c:pt idx="123">
                  <c:v>44322</c:v>
                </c:pt>
                <c:pt idx="124">
                  <c:v>44323</c:v>
                </c:pt>
                <c:pt idx="125">
                  <c:v>44324</c:v>
                </c:pt>
                <c:pt idx="126">
                  <c:v>44325</c:v>
                </c:pt>
              </c:numCache>
            </c:numRef>
          </c:cat>
          <c:val>
            <c:numRef>
              <c:f>Sheet1!$B$2:$B$128</c:f>
              <c:numCache>
                <c:formatCode>#\ ##0_ ;\-#\ ##0\ </c:formatCode>
                <c:ptCount val="127"/>
                <c:pt idx="0">
                  <c:v>34</c:v>
                </c:pt>
                <c:pt idx="1">
                  <c:v>262</c:v>
                </c:pt>
                <c:pt idx="2">
                  <c:v>142</c:v>
                </c:pt>
                <c:pt idx="3">
                  <c:v>111</c:v>
                </c:pt>
                <c:pt idx="4">
                  <c:v>97</c:v>
                </c:pt>
                <c:pt idx="5">
                  <c:v>120</c:v>
                </c:pt>
                <c:pt idx="6">
                  <c:v>48</c:v>
                </c:pt>
                <c:pt idx="7">
                  <c:v>24</c:v>
                </c:pt>
                <c:pt idx="8">
                  <c:v>227</c:v>
                </c:pt>
                <c:pt idx="9">
                  <c:v>94</c:v>
                </c:pt>
                <c:pt idx="10">
                  <c:v>106</c:v>
                </c:pt>
                <c:pt idx="11">
                  <c:v>51</c:v>
                </c:pt>
                <c:pt idx="12">
                  <c:v>63</c:v>
                </c:pt>
                <c:pt idx="13">
                  <c:v>31</c:v>
                </c:pt>
                <c:pt idx="14">
                  <c:v>25</c:v>
                </c:pt>
                <c:pt idx="15">
                  <c:v>122</c:v>
                </c:pt>
                <c:pt idx="16">
                  <c:v>73</c:v>
                </c:pt>
                <c:pt idx="17">
                  <c:v>71</c:v>
                </c:pt>
                <c:pt idx="18">
                  <c:v>57</c:v>
                </c:pt>
                <c:pt idx="19">
                  <c:v>77</c:v>
                </c:pt>
                <c:pt idx="20">
                  <c:v>26</c:v>
                </c:pt>
                <c:pt idx="21">
                  <c:v>11</c:v>
                </c:pt>
                <c:pt idx="22">
                  <c:v>89</c:v>
                </c:pt>
                <c:pt idx="23">
                  <c:v>75</c:v>
                </c:pt>
                <c:pt idx="24">
                  <c:v>57</c:v>
                </c:pt>
                <c:pt idx="25">
                  <c:v>32</c:v>
                </c:pt>
                <c:pt idx="26">
                  <c:v>45</c:v>
                </c:pt>
                <c:pt idx="27">
                  <c:v>28</c:v>
                </c:pt>
                <c:pt idx="28">
                  <c:v>9</c:v>
                </c:pt>
                <c:pt idx="29">
                  <c:v>77</c:v>
                </c:pt>
                <c:pt idx="30">
                  <c:v>68</c:v>
                </c:pt>
                <c:pt idx="31">
                  <c:v>54</c:v>
                </c:pt>
                <c:pt idx="32">
                  <c:v>42</c:v>
                </c:pt>
                <c:pt idx="33">
                  <c:v>43</c:v>
                </c:pt>
                <c:pt idx="34">
                  <c:v>10</c:v>
                </c:pt>
                <c:pt idx="35">
                  <c:v>17</c:v>
                </c:pt>
                <c:pt idx="36">
                  <c:v>68</c:v>
                </c:pt>
                <c:pt idx="37">
                  <c:v>21</c:v>
                </c:pt>
                <c:pt idx="38">
                  <c:v>33</c:v>
                </c:pt>
                <c:pt idx="39">
                  <c:v>38</c:v>
                </c:pt>
                <c:pt idx="40">
                  <c:v>39</c:v>
                </c:pt>
                <c:pt idx="41">
                  <c:v>15</c:v>
                </c:pt>
                <c:pt idx="42">
                  <c:v>9</c:v>
                </c:pt>
                <c:pt idx="43">
                  <c:v>62</c:v>
                </c:pt>
                <c:pt idx="44">
                  <c:v>32</c:v>
                </c:pt>
                <c:pt idx="45">
                  <c:v>36</c:v>
                </c:pt>
                <c:pt idx="46">
                  <c:v>28</c:v>
                </c:pt>
                <c:pt idx="47">
                  <c:v>33</c:v>
                </c:pt>
                <c:pt idx="48">
                  <c:v>5</c:v>
                </c:pt>
                <c:pt idx="49">
                  <c:v>18</c:v>
                </c:pt>
                <c:pt idx="50">
                  <c:v>69</c:v>
                </c:pt>
                <c:pt idx="51">
                  <c:v>44</c:v>
                </c:pt>
                <c:pt idx="52">
                  <c:v>34</c:v>
                </c:pt>
                <c:pt idx="53">
                  <c:v>31</c:v>
                </c:pt>
                <c:pt idx="54">
                  <c:v>38</c:v>
                </c:pt>
                <c:pt idx="55">
                  <c:v>9</c:v>
                </c:pt>
                <c:pt idx="56">
                  <c:v>9</c:v>
                </c:pt>
                <c:pt idx="57">
                  <c:v>55</c:v>
                </c:pt>
                <c:pt idx="58">
                  <c:v>37</c:v>
                </c:pt>
                <c:pt idx="59">
                  <c:v>55</c:v>
                </c:pt>
                <c:pt idx="60">
                  <c:v>32</c:v>
                </c:pt>
                <c:pt idx="61">
                  <c:v>28</c:v>
                </c:pt>
                <c:pt idx="62">
                  <c:v>13</c:v>
                </c:pt>
                <c:pt idx="63">
                  <c:v>9</c:v>
                </c:pt>
                <c:pt idx="64">
                  <c:v>58</c:v>
                </c:pt>
                <c:pt idx="65">
                  <c:v>36</c:v>
                </c:pt>
                <c:pt idx="66">
                  <c:v>29</c:v>
                </c:pt>
                <c:pt idx="67">
                  <c:v>25</c:v>
                </c:pt>
                <c:pt idx="68">
                  <c:v>18</c:v>
                </c:pt>
                <c:pt idx="69">
                  <c:v>11</c:v>
                </c:pt>
                <c:pt idx="70">
                  <c:v>7</c:v>
                </c:pt>
                <c:pt idx="71">
                  <c:v>33</c:v>
                </c:pt>
                <c:pt idx="72">
                  <c:v>23</c:v>
                </c:pt>
                <c:pt idx="73">
                  <c:v>23</c:v>
                </c:pt>
                <c:pt idx="74">
                  <c:v>16</c:v>
                </c:pt>
                <c:pt idx="75">
                  <c:v>20</c:v>
                </c:pt>
                <c:pt idx="76">
                  <c:v>1</c:v>
                </c:pt>
                <c:pt idx="77">
                  <c:v>4</c:v>
                </c:pt>
                <c:pt idx="78">
                  <c:v>27</c:v>
                </c:pt>
                <c:pt idx="79">
                  <c:v>18</c:v>
                </c:pt>
                <c:pt idx="80">
                  <c:v>10</c:v>
                </c:pt>
                <c:pt idx="81">
                  <c:v>8</c:v>
                </c:pt>
                <c:pt idx="82">
                  <c:v>16</c:v>
                </c:pt>
                <c:pt idx="83">
                  <c:v>3</c:v>
                </c:pt>
                <c:pt idx="84">
                  <c:v>1</c:v>
                </c:pt>
                <c:pt idx="85">
                  <c:v>18</c:v>
                </c:pt>
                <c:pt idx="86">
                  <c:v>11</c:v>
                </c:pt>
                <c:pt idx="87">
                  <c:v>12</c:v>
                </c:pt>
                <c:pt idx="88">
                  <c:v>11</c:v>
                </c:pt>
                <c:pt idx="89">
                  <c:v>3</c:v>
                </c:pt>
                <c:pt idx="90">
                  <c:v>3</c:v>
                </c:pt>
                <c:pt idx="91">
                  <c:v>2</c:v>
                </c:pt>
                <c:pt idx="92">
                  <c:v>4</c:v>
                </c:pt>
                <c:pt idx="93">
                  <c:v>20</c:v>
                </c:pt>
                <c:pt idx="94">
                  <c:v>15</c:v>
                </c:pt>
                <c:pt idx="95">
                  <c:v>16</c:v>
                </c:pt>
                <c:pt idx="96">
                  <c:v>8</c:v>
                </c:pt>
                <c:pt idx="97">
                  <c:v>4</c:v>
                </c:pt>
                <c:pt idx="98">
                  <c:v>1</c:v>
                </c:pt>
                <c:pt idx="99">
                  <c:v>8</c:v>
                </c:pt>
                <c:pt idx="100">
                  <c:v>5</c:v>
                </c:pt>
                <c:pt idx="101">
                  <c:v>4</c:v>
                </c:pt>
                <c:pt idx="102">
                  <c:v>5</c:v>
                </c:pt>
                <c:pt idx="103">
                  <c:v>6</c:v>
                </c:pt>
                <c:pt idx="104">
                  <c:v>1</c:v>
                </c:pt>
                <c:pt idx="105">
                  <c:v>1</c:v>
                </c:pt>
                <c:pt idx="106">
                  <c:v>9</c:v>
                </c:pt>
                <c:pt idx="107">
                  <c:v>2</c:v>
                </c:pt>
                <c:pt idx="108">
                  <c:v>3</c:v>
                </c:pt>
                <c:pt idx="109">
                  <c:v>3</c:v>
                </c:pt>
                <c:pt idx="110">
                  <c:v>4</c:v>
                </c:pt>
                <c:pt idx="111">
                  <c:v>2</c:v>
                </c:pt>
                <c:pt idx="112">
                  <c:v>0</c:v>
                </c:pt>
                <c:pt idx="113">
                  <c:v>6</c:v>
                </c:pt>
                <c:pt idx="114">
                  <c:v>4</c:v>
                </c:pt>
                <c:pt idx="115">
                  <c:v>3</c:v>
                </c:pt>
                <c:pt idx="116">
                  <c:v>1</c:v>
                </c:pt>
                <c:pt idx="117">
                  <c:v>3</c:v>
                </c:pt>
                <c:pt idx="118">
                  <c:v>0</c:v>
                </c:pt>
                <c:pt idx="119">
                  <c:v>0</c:v>
                </c:pt>
                <c:pt idx="120">
                  <c:v>3</c:v>
                </c:pt>
                <c:pt idx="121">
                  <c:v>5</c:v>
                </c:pt>
                <c:pt idx="122">
                  <c:v>1</c:v>
                </c:pt>
                <c:pt idx="123">
                  <c:v>0</c:v>
                </c:pt>
                <c:pt idx="124">
                  <c:v>1</c:v>
                </c:pt>
                <c:pt idx="125">
                  <c:v>0</c:v>
                </c:pt>
                <c:pt idx="12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2</c:v>
                </c:pt>
                <c:pt idx="22">
                  <c:v>2109</c:v>
                </c:pt>
                <c:pt idx="23">
                  <c:v>1924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7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20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51</c:v>
                </c:pt>
                <c:pt idx="94">
                  <c:v>223</c:v>
                </c:pt>
                <c:pt idx="95">
                  <c:v>179</c:v>
                </c:pt>
                <c:pt idx="96">
                  <c:v>92</c:v>
                </c:pt>
                <c:pt idx="97">
                  <c:v>57</c:v>
                </c:pt>
                <c:pt idx="98">
                  <c:v>214</c:v>
                </c:pt>
                <c:pt idx="99">
                  <c:v>184</c:v>
                </c:pt>
                <c:pt idx="100">
                  <c:v>134</c:v>
                </c:pt>
                <c:pt idx="101">
                  <c:v>155</c:v>
                </c:pt>
                <c:pt idx="102">
                  <c:v>133</c:v>
                </c:pt>
                <c:pt idx="103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522</c:v>
                </c:pt>
                <c:pt idx="1">
                  <c:v>627</c:v>
                </c:pt>
                <c:pt idx="2">
                  <c:v>615</c:v>
                </c:pt>
                <c:pt idx="3">
                  <c:v>605</c:v>
                </c:pt>
                <c:pt idx="4">
                  <c:v>608</c:v>
                </c:pt>
                <c:pt idx="5">
                  <c:v>359</c:v>
                </c:pt>
                <c:pt idx="6">
                  <c:v>210</c:v>
                </c:pt>
                <c:pt idx="7">
                  <c:v>455</c:v>
                </c:pt>
                <c:pt idx="8">
                  <c:v>657</c:v>
                </c:pt>
                <c:pt idx="9">
                  <c:v>553</c:v>
                </c:pt>
                <c:pt idx="10">
                  <c:v>580</c:v>
                </c:pt>
                <c:pt idx="11">
                  <c:v>566</c:v>
                </c:pt>
                <c:pt idx="12">
                  <c:v>293</c:v>
                </c:pt>
                <c:pt idx="13">
                  <c:v>208</c:v>
                </c:pt>
                <c:pt idx="14">
                  <c:v>556</c:v>
                </c:pt>
                <c:pt idx="15">
                  <c:v>719</c:v>
                </c:pt>
                <c:pt idx="16">
                  <c:v>601</c:v>
                </c:pt>
                <c:pt idx="17">
                  <c:v>646</c:v>
                </c:pt>
                <c:pt idx="18">
                  <c:v>741</c:v>
                </c:pt>
                <c:pt idx="19">
                  <c:v>378</c:v>
                </c:pt>
                <c:pt idx="20">
                  <c:v>285</c:v>
                </c:pt>
                <c:pt idx="21">
                  <c:v>697</c:v>
                </c:pt>
                <c:pt idx="22">
                  <c:v>847</c:v>
                </c:pt>
                <c:pt idx="23">
                  <c:v>752</c:v>
                </c:pt>
                <c:pt idx="24">
                  <c:v>807</c:v>
                </c:pt>
                <c:pt idx="25">
                  <c:v>810</c:v>
                </c:pt>
                <c:pt idx="26">
                  <c:v>409</c:v>
                </c:pt>
                <c:pt idx="27">
                  <c:v>283</c:v>
                </c:pt>
                <c:pt idx="28">
                  <c:v>773</c:v>
                </c:pt>
                <c:pt idx="29">
                  <c:v>917</c:v>
                </c:pt>
                <c:pt idx="30">
                  <c:v>853</c:v>
                </c:pt>
                <c:pt idx="31">
                  <c:v>747</c:v>
                </c:pt>
                <c:pt idx="32">
                  <c:v>713</c:v>
                </c:pt>
                <c:pt idx="33">
                  <c:v>532</c:v>
                </c:pt>
                <c:pt idx="34">
                  <c:v>294</c:v>
                </c:pt>
                <c:pt idx="35">
                  <c:v>586</c:v>
                </c:pt>
                <c:pt idx="36">
                  <c:v>737</c:v>
                </c:pt>
                <c:pt idx="37">
                  <c:v>752</c:v>
                </c:pt>
                <c:pt idx="38">
                  <c:v>640</c:v>
                </c:pt>
                <c:pt idx="39">
                  <c:v>854</c:v>
                </c:pt>
                <c:pt idx="40">
                  <c:v>373</c:v>
                </c:pt>
                <c:pt idx="41">
                  <c:v>220</c:v>
                </c:pt>
                <c:pt idx="42">
                  <c:v>663</c:v>
                </c:pt>
                <c:pt idx="43">
                  <c:v>766</c:v>
                </c:pt>
                <c:pt idx="44">
                  <c:v>673</c:v>
                </c:pt>
                <c:pt idx="45">
                  <c:v>601</c:v>
                </c:pt>
                <c:pt idx="46">
                  <c:v>526</c:v>
                </c:pt>
                <c:pt idx="47">
                  <c:v>352</c:v>
                </c:pt>
                <c:pt idx="48">
                  <c:v>193</c:v>
                </c:pt>
                <c:pt idx="49">
                  <c:v>462</c:v>
                </c:pt>
                <c:pt idx="50">
                  <c:v>618</c:v>
                </c:pt>
                <c:pt idx="51">
                  <c:v>486</c:v>
                </c:pt>
                <c:pt idx="52">
                  <c:v>482</c:v>
                </c:pt>
                <c:pt idx="53">
                  <c:v>439</c:v>
                </c:pt>
                <c:pt idx="54">
                  <c:v>267</c:v>
                </c:pt>
                <c:pt idx="55">
                  <c:v>132</c:v>
                </c:pt>
                <c:pt idx="56">
                  <c:v>427</c:v>
                </c:pt>
                <c:pt idx="57">
                  <c:v>468</c:v>
                </c:pt>
                <c:pt idx="58">
                  <c:v>430</c:v>
                </c:pt>
                <c:pt idx="59">
                  <c:v>360</c:v>
                </c:pt>
                <c:pt idx="60">
                  <c:v>216</c:v>
                </c:pt>
                <c:pt idx="61">
                  <c:v>151</c:v>
                </c:pt>
                <c:pt idx="62">
                  <c:v>150</c:v>
                </c:pt>
                <c:pt idx="63">
                  <c:v>129</c:v>
                </c:pt>
                <c:pt idx="64">
                  <c:v>305</c:v>
                </c:pt>
                <c:pt idx="65">
                  <c:v>307</c:v>
                </c:pt>
                <c:pt idx="66">
                  <c:v>278</c:v>
                </c:pt>
                <c:pt idx="67">
                  <c:v>274</c:v>
                </c:pt>
                <c:pt idx="68">
                  <c:v>131</c:v>
                </c:pt>
                <c:pt idx="69">
                  <c:v>81</c:v>
                </c:pt>
                <c:pt idx="70">
                  <c:v>215</c:v>
                </c:pt>
                <c:pt idx="71">
                  <c:v>245</c:v>
                </c:pt>
                <c:pt idx="72">
                  <c:v>233</c:v>
                </c:pt>
                <c:pt idx="73">
                  <c:v>195</c:v>
                </c:pt>
                <c:pt idx="74">
                  <c:v>193</c:v>
                </c:pt>
                <c:pt idx="75">
                  <c:v>89</c:v>
                </c:pt>
                <c:pt idx="76">
                  <c:v>64</c:v>
                </c:pt>
                <c:pt idx="77">
                  <c:v>170</c:v>
                </c:pt>
                <c:pt idx="78">
                  <c:v>169</c:v>
                </c:pt>
                <c:pt idx="79">
                  <c:v>145</c:v>
                </c:pt>
                <c:pt idx="80">
                  <c:v>148</c:v>
                </c:pt>
                <c:pt idx="81">
                  <c:v>100</c:v>
                </c:pt>
                <c:pt idx="82">
                  <c:v>53</c:v>
                </c:pt>
                <c:pt idx="83">
                  <c:v>48</c:v>
                </c:pt>
                <c:pt idx="84">
                  <c:v>137</c:v>
                </c:pt>
                <c:pt idx="85">
                  <c:v>145</c:v>
                </c:pt>
                <c:pt idx="86">
                  <c:v>108</c:v>
                </c:pt>
                <c:pt idx="87">
                  <c:v>91</c:v>
                </c:pt>
                <c:pt idx="88">
                  <c:v>101</c:v>
                </c:pt>
                <c:pt idx="89">
                  <c:v>65</c:v>
                </c:pt>
                <c:pt idx="90">
                  <c:v>38</c:v>
                </c:pt>
                <c:pt idx="91">
                  <c:v>89</c:v>
                </c:pt>
                <c:pt idx="92">
                  <c:v>93</c:v>
                </c:pt>
                <c:pt idx="93">
                  <c:v>84</c:v>
                </c:pt>
                <c:pt idx="94">
                  <c:v>79</c:v>
                </c:pt>
                <c:pt idx="95">
                  <c:v>59</c:v>
                </c:pt>
                <c:pt idx="96">
                  <c:v>32</c:v>
                </c:pt>
                <c:pt idx="97">
                  <c:v>22</c:v>
                </c:pt>
                <c:pt idx="98">
                  <c:v>84</c:v>
                </c:pt>
                <c:pt idx="99">
                  <c:v>59</c:v>
                </c:pt>
                <c:pt idx="100">
                  <c:v>39</c:v>
                </c:pt>
                <c:pt idx="101">
                  <c:v>50</c:v>
                </c:pt>
                <c:pt idx="102">
                  <c:v>45</c:v>
                </c:pt>
                <c:pt idx="103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5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6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9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2</c:v>
                </c:pt>
                <c:pt idx="71">
                  <c:v>250</c:v>
                </c:pt>
                <c:pt idx="72">
                  <c:v>230</c:v>
                </c:pt>
                <c:pt idx="73">
                  <c:v>243</c:v>
                </c:pt>
                <c:pt idx="74">
                  <c:v>198</c:v>
                </c:pt>
                <c:pt idx="75">
                  <c:v>158</c:v>
                </c:pt>
                <c:pt idx="76">
                  <c:v>147</c:v>
                </c:pt>
                <c:pt idx="77">
                  <c:v>253</c:v>
                </c:pt>
                <c:pt idx="78">
                  <c:v>171</c:v>
                </c:pt>
                <c:pt idx="79">
                  <c:v>181</c:v>
                </c:pt>
                <c:pt idx="80">
                  <c:v>169</c:v>
                </c:pt>
                <c:pt idx="81">
                  <c:v>175</c:v>
                </c:pt>
                <c:pt idx="82">
                  <c:v>92</c:v>
                </c:pt>
                <c:pt idx="83">
                  <c:v>100</c:v>
                </c:pt>
                <c:pt idx="84">
                  <c:v>174</c:v>
                </c:pt>
                <c:pt idx="85">
                  <c:v>137</c:v>
                </c:pt>
                <c:pt idx="86">
                  <c:v>136</c:v>
                </c:pt>
                <c:pt idx="87">
                  <c:v>114</c:v>
                </c:pt>
                <c:pt idx="88">
                  <c:v>97</c:v>
                </c:pt>
                <c:pt idx="89">
                  <c:v>57</c:v>
                </c:pt>
                <c:pt idx="9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921.27255682805844</c:v>
                </c:pt>
                <c:pt idx="11">
                  <c:v>950.04655632321374</c:v>
                </c:pt>
                <c:pt idx="12">
                  <c:v>975.06632719252957</c:v>
                </c:pt>
                <c:pt idx="13">
                  <c:v>1001.1407906556851</c:v>
                </c:pt>
                <c:pt idx="14">
                  <c:v>1026.7764563831006</c:v>
                </c:pt>
                <c:pt idx="15">
                  <c:v>1046.0537452376011</c:v>
                </c:pt>
                <c:pt idx="16">
                  <c:v>1060.0018308652943</c:v>
                </c:pt>
                <c:pt idx="17">
                  <c:v>1070.0822871986165</c:v>
                </c:pt>
                <c:pt idx="18">
                  <c:v>1075.5222993314528</c:v>
                </c:pt>
                <c:pt idx="19">
                  <c:v>1076.4434697168908</c:v>
                </c:pt>
                <c:pt idx="20">
                  <c:v>1074.9945532529964</c:v>
                </c:pt>
                <c:pt idx="21">
                  <c:v>1071.730420053631</c:v>
                </c:pt>
                <c:pt idx="22">
                  <c:v>1066.0906548018829</c:v>
                </c:pt>
                <c:pt idx="23">
                  <c:v>1058.4327563004044</c:v>
                </c:pt>
                <c:pt idx="24">
                  <c:v>1049.1434149219567</c:v>
                </c:pt>
                <c:pt idx="25">
                  <c:v>1038.1803048758593</c:v>
                </c:pt>
                <c:pt idx="26">
                  <c:v>1025.8802472121024</c:v>
                </c:pt>
                <c:pt idx="27">
                  <c:v>1012.8237392495212</c:v>
                </c:pt>
                <c:pt idx="28">
                  <c:v>998.95019865655922</c:v>
                </c:pt>
                <c:pt idx="29">
                  <c:v>984.20796425215667</c:v>
                </c:pt>
                <c:pt idx="30">
                  <c:v>968.94063105189707</c:v>
                </c:pt>
                <c:pt idx="31">
                  <c:v>953.28994503586728</c:v>
                </c:pt>
                <c:pt idx="32">
                  <c:v>937.12371862685541</c:v>
                </c:pt>
                <c:pt idx="33">
                  <c:v>920.48531541733246</c:v>
                </c:pt>
                <c:pt idx="34">
                  <c:v>903.57363142278336</c:v>
                </c:pt>
                <c:pt idx="35">
                  <c:v>886.52328910738288</c:v>
                </c:pt>
                <c:pt idx="36">
                  <c:v>869.43813617953856</c:v>
                </c:pt>
                <c:pt idx="37">
                  <c:v>852.29018096333311</c:v>
                </c:pt>
                <c:pt idx="38">
                  <c:v>834.9529185576248</c:v>
                </c:pt>
                <c:pt idx="39">
                  <c:v>817.50050248697517</c:v>
                </c:pt>
                <c:pt idx="40">
                  <c:v>800.03333895816468</c:v>
                </c:pt>
                <c:pt idx="41">
                  <c:v>782.61237937395344</c:v>
                </c:pt>
                <c:pt idx="42">
                  <c:v>765.30262352844875</c:v>
                </c:pt>
                <c:pt idx="43">
                  <c:v>748.1083249377989</c:v>
                </c:pt>
                <c:pt idx="44">
                  <c:v>731.02806413421058</c:v>
                </c:pt>
                <c:pt idx="45">
                  <c:v>714.05721546823042</c:v>
                </c:pt>
                <c:pt idx="46">
                  <c:v>697.18803854894941</c:v>
                </c:pt>
                <c:pt idx="47">
                  <c:v>680.42965736272163</c:v>
                </c:pt>
                <c:pt idx="48">
                  <c:v>663.84713073066087</c:v>
                </c:pt>
                <c:pt idx="49">
                  <c:v>647.49308926131926</c:v>
                </c:pt>
                <c:pt idx="50">
                  <c:v>631.33688608082593</c:v>
                </c:pt>
                <c:pt idx="51">
                  <c:v>615.35322313461802</c:v>
                </c:pt>
                <c:pt idx="52">
                  <c:v>599.5097274153668</c:v>
                </c:pt>
                <c:pt idx="53">
                  <c:v>583.77745633294398</c:v>
                </c:pt>
                <c:pt idx="54">
                  <c:v>568.22486903090612</c:v>
                </c:pt>
                <c:pt idx="55">
                  <c:v>552.90796327732096</c:v>
                </c:pt>
                <c:pt idx="56">
                  <c:v>537.86086035388871</c:v>
                </c:pt>
                <c:pt idx="57">
                  <c:v>523.10349996143486</c:v>
                </c:pt>
                <c:pt idx="58">
                  <c:v>508.6473111610685</c:v>
                </c:pt>
                <c:pt idx="59">
                  <c:v>494.49846949928906</c:v>
                </c:pt>
                <c:pt idx="60">
                  <c:v>480.57936834730208</c:v>
                </c:pt>
                <c:pt idx="61">
                  <c:v>466.8121717251197</c:v>
                </c:pt>
                <c:pt idx="62">
                  <c:v>453.14647159757442</c:v>
                </c:pt>
                <c:pt idx="63">
                  <c:v>439.58132036667666</c:v>
                </c:pt>
                <c:pt idx="64">
                  <c:v>426.41034429363208</c:v>
                </c:pt>
                <c:pt idx="65">
                  <c:v>413.63581237441394</c:v>
                </c:pt>
                <c:pt idx="66">
                  <c:v>401.21997763164109</c:v>
                </c:pt>
                <c:pt idx="67">
                  <c:v>389.1295271286217</c:v>
                </c:pt>
                <c:pt idx="68">
                  <c:v>377.35389991430566</c:v>
                </c:pt>
                <c:pt idx="69">
                  <c:v>365.89369477471337</c:v>
                </c:pt>
                <c:pt idx="70">
                  <c:v>354.76767928234767</c:v>
                </c:pt>
                <c:pt idx="71">
                  <c:v>345.01485770984436</c:v>
                </c:pt>
                <c:pt idx="72">
                  <c:v>336.3770177726401</c:v>
                </c:pt>
                <c:pt idx="73">
                  <c:v>328.56771912978729</c:v>
                </c:pt>
                <c:pt idx="74">
                  <c:v>321.42845670683892</c:v>
                </c:pt>
                <c:pt idx="75">
                  <c:v>314.87405804352602</c:v>
                </c:pt>
                <c:pt idx="76">
                  <c:v>308.86166115864762</c:v>
                </c:pt>
                <c:pt idx="77">
                  <c:v>303.37112527733552</c:v>
                </c:pt>
                <c:pt idx="78">
                  <c:v>298.41228831201443</c:v>
                </c:pt>
                <c:pt idx="79">
                  <c:v>293.96714568024618</c:v>
                </c:pt>
                <c:pt idx="80">
                  <c:v>289.96338165222551</c:v>
                </c:pt>
                <c:pt idx="81">
                  <c:v>286.31296636795742</c:v>
                </c:pt>
                <c:pt idx="82">
                  <c:v>282.94632585218642</c:v>
                </c:pt>
                <c:pt idx="83">
                  <c:v>279.80481217155466</c:v>
                </c:pt>
                <c:pt idx="84">
                  <c:v>276.8039597448078</c:v>
                </c:pt>
                <c:pt idx="85">
                  <c:v>273.87988578734803</c:v>
                </c:pt>
                <c:pt idx="86">
                  <c:v>270.9883103852917</c:v>
                </c:pt>
                <c:pt idx="87">
                  <c:v>268.09773692989256</c:v>
                </c:pt>
                <c:pt idx="88">
                  <c:v>265.18558467156254</c:v>
                </c:pt>
                <c:pt idx="89">
                  <c:v>262.23589740635362</c:v>
                </c:pt>
                <c:pt idx="90">
                  <c:v>259.23700278147589</c:v>
                </c:pt>
                <c:pt idx="91">
                  <c:v>256.18181618637755</c:v>
                </c:pt>
                <c:pt idx="92">
                  <c:v>253.06607577289105</c:v>
                </c:pt>
                <c:pt idx="93">
                  <c:v>249.89479026291519</c:v>
                </c:pt>
                <c:pt idx="94">
                  <c:v>246.67317550157895</c:v>
                </c:pt>
                <c:pt idx="95">
                  <c:v>243.40578245464712</c:v>
                </c:pt>
                <c:pt idx="96">
                  <c:v>240.09673015621956</c:v>
                </c:pt>
                <c:pt idx="97">
                  <c:v>236.74935964209726</c:v>
                </c:pt>
                <c:pt idx="98">
                  <c:v>233.38809097983176</c:v>
                </c:pt>
                <c:pt idx="99">
                  <c:v>230.03116606117692</c:v>
                </c:pt>
                <c:pt idx="100">
                  <c:v>226.68941937322961</c:v>
                </c:pt>
                <c:pt idx="101">
                  <c:v>223.3689852024545</c:v>
                </c:pt>
                <c:pt idx="102">
                  <c:v>220.07255606149556</c:v>
                </c:pt>
                <c:pt idx="103">
                  <c:v>216.80117726014578</c:v>
                </c:pt>
                <c:pt idx="104">
                  <c:v>213.55495083265123</c:v>
                </c:pt>
                <c:pt idx="105">
                  <c:v>210.3333551776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884.38390631374205</c:v>
                </c:pt>
                <c:pt idx="11">
                  <c:v>903.6086874591856</c:v>
                </c:pt>
                <c:pt idx="12">
                  <c:v>924.08261141896946</c:v>
                </c:pt>
                <c:pt idx="13">
                  <c:v>945.89512726065004</c:v>
                </c:pt>
                <c:pt idx="14">
                  <c:v>967.35277248696366</c:v>
                </c:pt>
                <c:pt idx="15">
                  <c:v>982.36031537214876</c:v>
                </c:pt>
                <c:pt idx="16">
                  <c:v>992.01054728229064</c:v>
                </c:pt>
                <c:pt idx="17">
                  <c:v>998.06001514534</c:v>
                </c:pt>
                <c:pt idx="18">
                  <c:v>1000.1909763954754</c:v>
                </c:pt>
                <c:pt idx="19">
                  <c:v>998.20846727043681</c:v>
                </c:pt>
                <c:pt idx="20">
                  <c:v>994.39957840552961</c:v>
                </c:pt>
                <c:pt idx="21">
                  <c:v>989.30084216999239</c:v>
                </c:pt>
                <c:pt idx="22">
                  <c:v>982.20181088507525</c:v>
                </c:pt>
                <c:pt idx="23">
                  <c:v>973.1697459405259</c:v>
                </c:pt>
                <c:pt idx="24">
                  <c:v>962.48167363522225</c:v>
                </c:pt>
                <c:pt idx="25">
                  <c:v>950.03545543961809</c:v>
                </c:pt>
                <c:pt idx="26">
                  <c:v>936.16293754776416</c:v>
                </c:pt>
                <c:pt idx="27">
                  <c:v>921.46707436833822</c:v>
                </c:pt>
                <c:pt idx="28">
                  <c:v>905.98284563023481</c:v>
                </c:pt>
                <c:pt idx="29">
                  <c:v>889.56518772734853</c:v>
                </c:pt>
                <c:pt idx="30">
                  <c:v>872.49347271431179</c:v>
                </c:pt>
                <c:pt idx="31">
                  <c:v>854.83214602930821</c:v>
                </c:pt>
                <c:pt idx="32">
                  <c:v>836.39957257307833</c:v>
                </c:pt>
                <c:pt idx="33">
                  <c:v>817.25631446288025</c:v>
                </c:pt>
                <c:pt idx="34">
                  <c:v>797.71290197565395</c:v>
                </c:pt>
                <c:pt idx="35">
                  <c:v>778.05174916201213</c:v>
                </c:pt>
                <c:pt idx="36">
                  <c:v>758.3997381797526</c:v>
                </c:pt>
                <c:pt idx="37">
                  <c:v>738.69529987391434</c:v>
                </c:pt>
                <c:pt idx="38">
                  <c:v>718.80011407006532</c:v>
                </c:pt>
                <c:pt idx="39">
                  <c:v>698.79185041776509</c:v>
                </c:pt>
                <c:pt idx="40">
                  <c:v>678.82003224144864</c:v>
                </c:pt>
                <c:pt idx="41">
                  <c:v>659.03956928952539</c:v>
                </c:pt>
                <c:pt idx="42">
                  <c:v>639.57849625353992</c:v>
                </c:pt>
                <c:pt idx="43">
                  <c:v>620.45481770299375</c:v>
                </c:pt>
                <c:pt idx="44">
                  <c:v>601.66233328545059</c:v>
                </c:pt>
                <c:pt idx="45">
                  <c:v>583.19925045051787</c:v>
                </c:pt>
                <c:pt idx="46">
                  <c:v>565.07339925922861</c:v>
                </c:pt>
                <c:pt idx="47">
                  <c:v>547.31265593133867</c:v>
                </c:pt>
                <c:pt idx="48">
                  <c:v>529.99596664796991</c:v>
                </c:pt>
                <c:pt idx="49">
                  <c:v>513.18786240006739</c:v>
                </c:pt>
                <c:pt idx="50">
                  <c:v>496.86811381904408</c:v>
                </c:pt>
                <c:pt idx="51">
                  <c:v>480.99391864187783</c:v>
                </c:pt>
                <c:pt idx="52">
                  <c:v>465.53973728281562</c:v>
                </c:pt>
                <c:pt idx="53">
                  <c:v>450.48744319478283</c:v>
                </c:pt>
                <c:pt idx="54">
                  <c:v>435.76921703055268</c:v>
                </c:pt>
                <c:pt idx="55">
                  <c:v>421.33992903726175</c:v>
                </c:pt>
                <c:pt idx="56">
                  <c:v>407.17595683965192</c:v>
                </c:pt>
                <c:pt idx="57">
                  <c:v>393.26620616402943</c:v>
                </c:pt>
                <c:pt idx="58">
                  <c:v>379.60724750248482</c:v>
                </c:pt>
                <c:pt idx="59">
                  <c:v>366.19979807554046</c:v>
                </c:pt>
                <c:pt idx="60">
                  <c:v>353.04659596872807</c:v>
                </c:pt>
                <c:pt idx="61">
                  <c:v>340.15221975115128</c:v>
                </c:pt>
                <c:pt idx="62">
                  <c:v>327.52303667229717</c:v>
                </c:pt>
                <c:pt idx="63">
                  <c:v>315.17333894029434</c:v>
                </c:pt>
                <c:pt idx="64">
                  <c:v>303.28891621840012</c:v>
                </c:pt>
                <c:pt idx="65">
                  <c:v>291.82357002896606</c:v>
                </c:pt>
                <c:pt idx="66">
                  <c:v>280.75187396838737</c:v>
                </c:pt>
                <c:pt idx="67">
                  <c:v>270.07205859771057</c:v>
                </c:pt>
                <c:pt idx="68">
                  <c:v>259.80818395588722</c:v>
                </c:pt>
                <c:pt idx="69">
                  <c:v>249.97861379479582</c:v>
                </c:pt>
                <c:pt idx="70">
                  <c:v>240.58930518641137</c:v>
                </c:pt>
                <c:pt idx="71">
                  <c:v>232.27247631837963</c:v>
                </c:pt>
                <c:pt idx="72">
                  <c:v>224.80722686517402</c:v>
                </c:pt>
                <c:pt idx="73">
                  <c:v>218.00046335271327</c:v>
                </c:pt>
                <c:pt idx="74">
                  <c:v>211.74739770250744</c:v>
                </c:pt>
                <c:pt idx="75">
                  <c:v>205.98898279498098</c:v>
                </c:pt>
                <c:pt idx="76">
                  <c:v>200.69039088851423</c:v>
                </c:pt>
                <c:pt idx="77">
                  <c:v>195.82257913635112</c:v>
                </c:pt>
                <c:pt idx="78">
                  <c:v>191.35324913766817</c:v>
                </c:pt>
                <c:pt idx="79">
                  <c:v>187.23400675834273</c:v>
                </c:pt>
                <c:pt idx="80">
                  <c:v>183.41614469568594</c:v>
                </c:pt>
                <c:pt idx="81">
                  <c:v>179.85111366401543</c:v>
                </c:pt>
                <c:pt idx="82">
                  <c:v>176.4964577065839</c:v>
                </c:pt>
                <c:pt idx="83">
                  <c:v>173.18562888837187</c:v>
                </c:pt>
                <c:pt idx="84">
                  <c:v>169.7997917412431</c:v>
                </c:pt>
                <c:pt idx="85">
                  <c:v>166.2761418313894</c:v>
                </c:pt>
                <c:pt idx="86">
                  <c:v>162.57948949126876</c:v>
                </c:pt>
                <c:pt idx="87">
                  <c:v>158.74023052831762</c:v>
                </c:pt>
                <c:pt idx="88">
                  <c:v>154.78277744015213</c:v>
                </c:pt>
                <c:pt idx="89">
                  <c:v>150.72075966437114</c:v>
                </c:pt>
                <c:pt idx="90">
                  <c:v>146.56166901675169</c:v>
                </c:pt>
                <c:pt idx="91">
                  <c:v>142.31300130949239</c:v>
                </c:pt>
                <c:pt idx="92">
                  <c:v>138.06829791341443</c:v>
                </c:pt>
                <c:pt idx="93">
                  <c:v>133.89507531910203</c:v>
                </c:pt>
                <c:pt idx="94">
                  <c:v>129.83145349408733</c:v>
                </c:pt>
                <c:pt idx="95">
                  <c:v>125.89689390052808</c:v>
                </c:pt>
                <c:pt idx="96">
                  <c:v>122.09933312403155</c:v>
                </c:pt>
                <c:pt idx="97">
                  <c:v>118.43929914027103</c:v>
                </c:pt>
                <c:pt idx="98">
                  <c:v>114.91401047346881</c:v>
                </c:pt>
                <c:pt idx="99">
                  <c:v>111.52403952769237</c:v>
                </c:pt>
                <c:pt idx="100">
                  <c:v>108.27734827657696</c:v>
                </c:pt>
                <c:pt idx="101">
                  <c:v>105.17553286097245</c:v>
                </c:pt>
                <c:pt idx="102">
                  <c:v>102.21505951925064</c:v>
                </c:pt>
                <c:pt idx="103">
                  <c:v>99.389812466863077</c:v>
                </c:pt>
                <c:pt idx="104">
                  <c:v>96.692725172499195</c:v>
                </c:pt>
                <c:pt idx="105">
                  <c:v>94.116862423426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4.2910924640455</c:v>
                </c:pt>
                <c:pt idx="13">
                  <c:v>1034.6599045577896</c:v>
                </c:pt>
                <c:pt idx="14">
                  <c:v>1064.6510091166128</c:v>
                </c:pt>
                <c:pt idx="15">
                  <c:v>1088.4430152635177</c:v>
                </c:pt>
                <c:pt idx="16">
                  <c:v>1107.0225666343176</c:v>
                </c:pt>
                <c:pt idx="17">
                  <c:v>1121.6862178713054</c:v>
                </c:pt>
                <c:pt idx="18">
                  <c:v>1131.3569439937419</c:v>
                </c:pt>
                <c:pt idx="19">
                  <c:v>1136.25746795538</c:v>
                </c:pt>
                <c:pt idx="20">
                  <c:v>1138.43396380372</c:v>
                </c:pt>
                <c:pt idx="21">
                  <c:v>1138.4324741638702</c:v>
                </c:pt>
                <c:pt idx="22">
                  <c:v>1135.725348398395</c:v>
                </c:pt>
                <c:pt idx="23">
                  <c:v>1130.7752992526948</c:v>
                </c:pt>
                <c:pt idx="24">
                  <c:v>1123.9901338405325</c:v>
                </c:pt>
                <c:pt idx="25">
                  <c:v>1115.335941099198</c:v>
                </c:pt>
                <c:pt idx="26">
                  <c:v>1105.1641549790947</c:v>
                </c:pt>
                <c:pt idx="27">
                  <c:v>1094.0612799294468</c:v>
                </c:pt>
                <c:pt idx="28">
                  <c:v>1081.9455917359737</c:v>
                </c:pt>
                <c:pt idx="29">
                  <c:v>1068.807309041993</c:v>
                </c:pt>
                <c:pt idx="30">
                  <c:v>1055.0241557096015</c:v>
                </c:pt>
                <c:pt idx="31">
                  <c:v>1040.7550864105142</c:v>
                </c:pt>
                <c:pt idx="32">
                  <c:v>1025.8891083156777</c:v>
                </c:pt>
                <c:pt idx="33">
                  <c:v>1010.4870239173761</c:v>
                </c:pt>
                <c:pt idx="34">
                  <c:v>994.72321121889399</c:v>
                </c:pt>
                <c:pt idx="35">
                  <c:v>978.69698404413066</c:v>
                </c:pt>
                <c:pt idx="36">
                  <c:v>962.54717531692586</c:v>
                </c:pt>
                <c:pt idx="37">
                  <c:v>946.29235946733388</c:v>
                </c:pt>
                <c:pt idx="38">
                  <c:v>929.82535322969488</c:v>
                </c:pt>
                <c:pt idx="39">
                  <c:v>913.24308283273422</c:v>
                </c:pt>
                <c:pt idx="40">
                  <c:v>896.66251538325741</c:v>
                </c:pt>
                <c:pt idx="41">
                  <c:v>880.08043509261915</c:v>
                </c:pt>
                <c:pt idx="42">
                  <c:v>863.52737050990982</c:v>
                </c:pt>
                <c:pt idx="43">
                  <c:v>847.03251603296667</c:v>
                </c:pt>
                <c:pt idx="44">
                  <c:v>830.62018137803534</c:v>
                </c:pt>
                <c:pt idx="45">
                  <c:v>814.31117072822235</c:v>
                </c:pt>
                <c:pt idx="46">
                  <c:v>798.12355009600287</c:v>
                </c:pt>
                <c:pt idx="47">
                  <c:v>782.07311385739013</c:v>
                </c:pt>
                <c:pt idx="48">
                  <c:v>766.1737004002498</c:v>
                </c:pt>
                <c:pt idx="49">
                  <c:v>750.43742859226768</c:v>
                </c:pt>
                <c:pt idx="50">
                  <c:v>734.87488919234602</c:v>
                </c:pt>
                <c:pt idx="51">
                  <c:v>719.4953075258527</c:v>
                </c:pt>
                <c:pt idx="52">
                  <c:v>704.30668544929358</c:v>
                </c:pt>
                <c:pt idx="53">
                  <c:v>689.31592683456256</c:v>
                </c:pt>
                <c:pt idx="54">
                  <c:v>674.52894909714814</c:v>
                </c:pt>
                <c:pt idx="55">
                  <c:v>659.95078252410167</c:v>
                </c:pt>
                <c:pt idx="56">
                  <c:v>645.58565879779053</c:v>
                </c:pt>
                <c:pt idx="57">
                  <c:v>631.43708992260508</c:v>
                </c:pt>
                <c:pt idx="58">
                  <c:v>617.50793863032595</c:v>
                </c:pt>
                <c:pt idx="59">
                  <c:v>603.80048123886809</c:v>
                </c:pt>
                <c:pt idx="60">
                  <c:v>590.31646384013584</c:v>
                </c:pt>
                <c:pt idx="61">
                  <c:v>577.05715260203579</c:v>
                </c:pt>
                <c:pt idx="62">
                  <c:v>564.02337888264447</c:v>
                </c:pt>
                <c:pt idx="63">
                  <c:v>551.21557977280463</c:v>
                </c:pt>
                <c:pt idx="64">
                  <c:v>538.63383460993646</c:v>
                </c:pt>
                <c:pt idx="65">
                  <c:v>526.27789793809643</c:v>
                </c:pt>
                <c:pt idx="66">
                  <c:v>514.14722932939185</c:v>
                </c:pt>
                <c:pt idx="67">
                  <c:v>502.24102042918094</c:v>
                </c:pt>
                <c:pt idx="68">
                  <c:v>490.55821954092244</c:v>
                </c:pt>
                <c:pt idx="69">
                  <c:v>479.09755402573501</c:v>
                </c:pt>
                <c:pt idx="70">
                  <c:v>467.8575507561327</c:v>
                </c:pt>
                <c:pt idx="71">
                  <c:v>456.83655483319308</c:v>
                </c:pt>
                <c:pt idx="72">
                  <c:v>446.03274674975546</c:v>
                </c:pt>
                <c:pt idx="73">
                  <c:v>435.44415815870161</c:v>
                </c:pt>
                <c:pt idx="74">
                  <c:v>425.06868638601736</c:v>
                </c:pt>
                <c:pt idx="75">
                  <c:v>414.90410781075479</c:v>
                </c:pt>
                <c:pt idx="76">
                  <c:v>404.94809021975379</c:v>
                </c:pt>
                <c:pt idx="77">
                  <c:v>395.19820423098281</c:v>
                </c:pt>
                <c:pt idx="78">
                  <c:v>385.65193386908504</c:v>
                </c:pt>
                <c:pt idx="79">
                  <c:v>376.30668636763585</c:v>
                </c:pt>
                <c:pt idx="80">
                  <c:v>367.15980126202339</c:v>
                </c:pt>
                <c:pt idx="81">
                  <c:v>358.20855883232434</c:v>
                </c:pt>
                <c:pt idx="82">
                  <c:v>349.45018794763018</c:v>
                </c:pt>
                <c:pt idx="83">
                  <c:v>340.88187335742987</c:v>
                </c:pt>
                <c:pt idx="84">
                  <c:v>332.50076247288962</c:v>
                </c:pt>
                <c:pt idx="85">
                  <c:v>324.30397167440969</c:v>
                </c:pt>
                <c:pt idx="86">
                  <c:v>316.28859217913123</c:v>
                </c:pt>
                <c:pt idx="87">
                  <c:v>308.45169550017454</c:v>
                </c:pt>
                <c:pt idx="88">
                  <c:v>300.79033852333669</c:v>
                </c:pt>
                <c:pt idx="89">
                  <c:v>293.30156822878052</c:v>
                </c:pt>
                <c:pt idx="90">
                  <c:v>285.98242607872817</c:v>
                </c:pt>
                <c:pt idx="91">
                  <c:v>278.82995209406363</c:v>
                </c:pt>
                <c:pt idx="92">
                  <c:v>271.84118863809272</c:v>
                </c:pt>
                <c:pt idx="93">
                  <c:v>265.01318392631947</c:v>
                </c:pt>
                <c:pt idx="94">
                  <c:v>258.34299527821713</c:v>
                </c:pt>
                <c:pt idx="95">
                  <c:v>251.82769212688436</c:v>
                </c:pt>
                <c:pt idx="96">
                  <c:v>245.46435880078934</c:v>
                </c:pt>
                <c:pt idx="97">
                  <c:v>239.25009709098958</c:v>
                </c:pt>
                <c:pt idx="98">
                  <c:v>233.18202861610916</c:v>
                </c:pt>
                <c:pt idx="99">
                  <c:v>227.25729699744261</c:v>
                </c:pt>
                <c:pt idx="100">
                  <c:v>221.4730698542844</c:v>
                </c:pt>
                <c:pt idx="101">
                  <c:v>215.8265406305436</c:v>
                </c:pt>
                <c:pt idx="102">
                  <c:v>210.31493026213138</c:v>
                </c:pt>
                <c:pt idx="103">
                  <c:v>204.9354886940273</c:v>
                </c:pt>
                <c:pt idx="104">
                  <c:v>199.68549625607557</c:v>
                </c:pt>
                <c:pt idx="105">
                  <c:v>194.562264905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10</c:v>
                </c:pt>
                <c:pt idx="1">
                  <c:v>6342</c:v>
                </c:pt>
                <c:pt idx="2">
                  <c:v>6428</c:v>
                </c:pt>
                <c:pt idx="3">
                  <c:v>6526</c:v>
                </c:pt>
                <c:pt idx="4">
                  <c:v>6545</c:v>
                </c:pt>
                <c:pt idx="5">
                  <c:v>6147</c:v>
                </c:pt>
                <c:pt idx="6">
                  <c:v>6354</c:v>
                </c:pt>
                <c:pt idx="7">
                  <c:v>7048</c:v>
                </c:pt>
                <c:pt idx="8">
                  <c:v>7077</c:v>
                </c:pt>
                <c:pt idx="9">
                  <c:v>7170</c:v>
                </c:pt>
                <c:pt idx="10">
                  <c:v>7386</c:v>
                </c:pt>
                <c:pt idx="11">
                  <c:v>7485</c:v>
                </c:pt>
                <c:pt idx="12">
                  <c:v>7187</c:v>
                </c:pt>
                <c:pt idx="13">
                  <c:v>7451</c:v>
                </c:pt>
                <c:pt idx="14">
                  <c:v>8256</c:v>
                </c:pt>
                <c:pt idx="15">
                  <c:v>8436</c:v>
                </c:pt>
                <c:pt idx="16">
                  <c:v>8380</c:v>
                </c:pt>
                <c:pt idx="17">
                  <c:v>8383</c:v>
                </c:pt>
                <c:pt idx="18">
                  <c:v>8450</c:v>
                </c:pt>
                <c:pt idx="19">
                  <c:v>8108</c:v>
                </c:pt>
                <c:pt idx="20">
                  <c:v>8332</c:v>
                </c:pt>
                <c:pt idx="21">
                  <c:v>9005</c:v>
                </c:pt>
                <c:pt idx="22">
                  <c:v>8976</c:v>
                </c:pt>
                <c:pt idx="23">
                  <c:v>8996</c:v>
                </c:pt>
                <c:pt idx="24">
                  <c:v>8962</c:v>
                </c:pt>
                <c:pt idx="25">
                  <c:v>8928</c:v>
                </c:pt>
                <c:pt idx="26">
                  <c:v>8530</c:v>
                </c:pt>
                <c:pt idx="27">
                  <c:v>8743</c:v>
                </c:pt>
                <c:pt idx="28">
                  <c:v>9460</c:v>
                </c:pt>
                <c:pt idx="29">
                  <c:v>9328</c:v>
                </c:pt>
                <c:pt idx="30">
                  <c:v>9157</c:v>
                </c:pt>
                <c:pt idx="31">
                  <c:v>8952</c:v>
                </c:pt>
                <c:pt idx="32">
                  <c:v>8764</c:v>
                </c:pt>
                <c:pt idx="33">
                  <c:v>8202</c:v>
                </c:pt>
                <c:pt idx="34">
                  <c:v>8315</c:v>
                </c:pt>
                <c:pt idx="35">
                  <c:v>8952</c:v>
                </c:pt>
                <c:pt idx="36">
                  <c:v>8617</c:v>
                </c:pt>
                <c:pt idx="37">
                  <c:v>8302</c:v>
                </c:pt>
                <c:pt idx="38">
                  <c:v>8144</c:v>
                </c:pt>
                <c:pt idx="39">
                  <c:v>8019</c:v>
                </c:pt>
                <c:pt idx="40">
                  <c:v>7499</c:v>
                </c:pt>
                <c:pt idx="41">
                  <c:v>7550</c:v>
                </c:pt>
                <c:pt idx="42">
                  <c:v>8090</c:v>
                </c:pt>
                <c:pt idx="43">
                  <c:v>7822</c:v>
                </c:pt>
                <c:pt idx="44">
                  <c:v>7507</c:v>
                </c:pt>
                <c:pt idx="45">
                  <c:v>7197</c:v>
                </c:pt>
                <c:pt idx="46">
                  <c:v>6369</c:v>
                </c:pt>
                <c:pt idx="47">
                  <c:v>6221</c:v>
                </c:pt>
                <c:pt idx="48">
                  <c:v>6316</c:v>
                </c:pt>
                <c:pt idx="49">
                  <c:v>6384</c:v>
                </c:pt>
                <c:pt idx="50">
                  <c:v>7058</c:v>
                </c:pt>
                <c:pt idx="51">
                  <c:v>6702</c:v>
                </c:pt>
                <c:pt idx="52">
                  <c:v>6226</c:v>
                </c:pt>
                <c:pt idx="53">
                  <c:v>5911</c:v>
                </c:pt>
                <c:pt idx="54">
                  <c:v>5273</c:v>
                </c:pt>
                <c:pt idx="55">
                  <c:v>5227</c:v>
                </c:pt>
                <c:pt idx="56">
                  <c:v>5520</c:v>
                </c:pt>
                <c:pt idx="57">
                  <c:v>5213</c:v>
                </c:pt>
                <c:pt idx="58">
                  <c:v>4912</c:v>
                </c:pt>
                <c:pt idx="59">
                  <c:v>4652</c:v>
                </c:pt>
                <c:pt idx="60">
                  <c:v>4407</c:v>
                </c:pt>
                <c:pt idx="61">
                  <c:v>4011</c:v>
                </c:pt>
                <c:pt idx="62">
                  <c:v>4019</c:v>
                </c:pt>
                <c:pt idx="63">
                  <c:v>4291</c:v>
                </c:pt>
                <c:pt idx="64">
                  <c:v>4123</c:v>
                </c:pt>
                <c:pt idx="65">
                  <c:v>3962</c:v>
                </c:pt>
                <c:pt idx="66">
                  <c:v>3727</c:v>
                </c:pt>
                <c:pt idx="67">
                  <c:v>3513</c:v>
                </c:pt>
                <c:pt idx="68">
                  <c:v>3166</c:v>
                </c:pt>
                <c:pt idx="69">
                  <c:v>3164</c:v>
                </c:pt>
                <c:pt idx="70">
                  <c:v>3315</c:v>
                </c:pt>
                <c:pt idx="71">
                  <c:v>3148</c:v>
                </c:pt>
                <c:pt idx="72">
                  <c:v>3001</c:v>
                </c:pt>
                <c:pt idx="73">
                  <c:v>2836</c:v>
                </c:pt>
                <c:pt idx="74">
                  <c:v>2677</c:v>
                </c:pt>
                <c:pt idx="75">
                  <c:v>2474</c:v>
                </c:pt>
                <c:pt idx="76">
                  <c:v>2502</c:v>
                </c:pt>
                <c:pt idx="77">
                  <c:v>2693</c:v>
                </c:pt>
                <c:pt idx="78">
                  <c:v>2539</c:v>
                </c:pt>
                <c:pt idx="79">
                  <c:v>2361</c:v>
                </c:pt>
                <c:pt idx="80">
                  <c:v>2220</c:v>
                </c:pt>
                <c:pt idx="81">
                  <c:v>2122</c:v>
                </c:pt>
                <c:pt idx="82">
                  <c:v>1885</c:v>
                </c:pt>
                <c:pt idx="83">
                  <c:v>1865</c:v>
                </c:pt>
                <c:pt idx="84">
                  <c:v>1979</c:v>
                </c:pt>
                <c:pt idx="85">
                  <c:v>1829</c:v>
                </c:pt>
                <c:pt idx="86">
                  <c:v>1719</c:v>
                </c:pt>
                <c:pt idx="87">
                  <c:v>1598</c:v>
                </c:pt>
                <c:pt idx="88">
                  <c:v>1483</c:v>
                </c:pt>
                <c:pt idx="89">
                  <c:v>1337</c:v>
                </c:pt>
                <c:pt idx="90">
                  <c:v>1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7426.8491842441945</c:v>
                </c:pt>
                <c:pt idx="11">
                  <c:v>7641.2885885599235</c:v>
                </c:pt>
                <c:pt idx="12">
                  <c:v>7858.7733974309403</c:v>
                </c:pt>
                <c:pt idx="13">
                  <c:v>8080.8756470241578</c:v>
                </c:pt>
                <c:pt idx="14">
                  <c:v>8303.7918340452834</c:v>
                </c:pt>
                <c:pt idx="15">
                  <c:v>8520.4495690051208</c:v>
                </c:pt>
                <c:pt idx="16">
                  <c:v>8729.2493516752984</c:v>
                </c:pt>
                <c:pt idx="17">
                  <c:v>8923.2127582981848</c:v>
                </c:pt>
                <c:pt idx="18">
                  <c:v>9094.9550504792642</c:v>
                </c:pt>
                <c:pt idx="19">
                  <c:v>9244.2984538285218</c:v>
                </c:pt>
                <c:pt idx="20">
                  <c:v>9371.4411388932676</c:v>
                </c:pt>
                <c:pt idx="21">
                  <c:v>9472.5884748683129</c:v>
                </c:pt>
                <c:pt idx="22">
                  <c:v>9546.1786250814639</c:v>
                </c:pt>
                <c:pt idx="23">
                  <c:v>9593.6506055808859</c:v>
                </c:pt>
                <c:pt idx="24">
                  <c:v>9617.2526729955462</c:v>
                </c:pt>
                <c:pt idx="25">
                  <c:v>9619.1771934930184</c:v>
                </c:pt>
                <c:pt idx="26">
                  <c:v>9600.5731324596945</c:v>
                </c:pt>
                <c:pt idx="27">
                  <c:v>9562.0426167209662</c:v>
                </c:pt>
                <c:pt idx="28">
                  <c:v>9503.5506228442719</c:v>
                </c:pt>
                <c:pt idx="29">
                  <c:v>9426.8062612804042</c:v>
                </c:pt>
                <c:pt idx="30">
                  <c:v>9333.9796280685005</c:v>
                </c:pt>
                <c:pt idx="31">
                  <c:v>9226.8100015593973</c:v>
                </c:pt>
                <c:pt idx="32">
                  <c:v>9106.5364321818051</c:v>
                </c:pt>
                <c:pt idx="33">
                  <c:v>8974.6868556154459</c:v>
                </c:pt>
                <c:pt idx="34">
                  <c:v>8833.0057791238651</c:v>
                </c:pt>
                <c:pt idx="35">
                  <c:v>8682.4813127953385</c:v>
                </c:pt>
                <c:pt idx="36">
                  <c:v>8524.4538241035316</c:v>
                </c:pt>
                <c:pt idx="37">
                  <c:v>8360.0207496982239</c:v>
                </c:pt>
                <c:pt idx="38">
                  <c:v>8190.0100184020584</c:v>
                </c:pt>
                <c:pt idx="39">
                  <c:v>8015.5164645318864</c:v>
                </c:pt>
                <c:pt idx="40">
                  <c:v>7837.5822790957545</c:v>
                </c:pt>
                <c:pt idx="41">
                  <c:v>7656.9110186796343</c:v>
                </c:pt>
                <c:pt idx="42">
                  <c:v>7474.1573623288295</c:v>
                </c:pt>
                <c:pt idx="43">
                  <c:v>7290.0887941771989</c:v>
                </c:pt>
                <c:pt idx="44">
                  <c:v>7105.2529061667101</c:v>
                </c:pt>
                <c:pt idx="45">
                  <c:v>6920.1492689128791</c:v>
                </c:pt>
                <c:pt idx="46">
                  <c:v>6735.342094785774</c:v>
                </c:pt>
                <c:pt idx="47">
                  <c:v>6551.1772442467136</c:v>
                </c:pt>
                <c:pt idx="48">
                  <c:v>6369.6818716982752</c:v>
                </c:pt>
                <c:pt idx="49">
                  <c:v>6191.14257632717</c:v>
                </c:pt>
                <c:pt idx="50">
                  <c:v>6015.6800914217065</c:v>
                </c:pt>
                <c:pt idx="51">
                  <c:v>5843.4320802559569</c:v>
                </c:pt>
                <c:pt idx="52">
                  <c:v>5674.4870437275986</c:v>
                </c:pt>
                <c:pt idx="53">
                  <c:v>5508.8876394518329</c:v>
                </c:pt>
                <c:pt idx="54">
                  <c:v>5346.7253900737824</c:v>
                </c:pt>
                <c:pt idx="55">
                  <c:v>5188.0885085985356</c:v>
                </c:pt>
                <c:pt idx="56">
                  <c:v>5033.0442936686341</c:v>
                </c:pt>
                <c:pt idx="57">
                  <c:v>4881.6233763704449</c:v>
                </c:pt>
                <c:pt idx="58">
                  <c:v>4733.8492870612527</c:v>
                </c:pt>
                <c:pt idx="59">
                  <c:v>4589.7525521492007</c:v>
                </c:pt>
                <c:pt idx="60">
                  <c:v>4449.3294123228152</c:v>
                </c:pt>
                <c:pt idx="61">
                  <c:v>4312.5383723072573</c:v>
                </c:pt>
                <c:pt idx="62">
                  <c:v>4179.2096796089745</c:v>
                </c:pt>
                <c:pt idx="63">
                  <c:v>4049.1892020755904</c:v>
                </c:pt>
                <c:pt idx="64">
                  <c:v>3922.5826558302429</c:v>
                </c:pt>
                <c:pt idx="65">
                  <c:v>3799.420499892321</c:v>
                </c:pt>
                <c:pt idx="66">
                  <c:v>3679.6823541430986</c:v>
                </c:pt>
                <c:pt idx="67">
                  <c:v>3563.364926006409</c:v>
                </c:pt>
                <c:pt idx="68">
                  <c:v>3450.4609229791427</c:v>
                </c:pt>
                <c:pt idx="69">
                  <c:v>3340.9201847728</c:v>
                </c:pt>
                <c:pt idx="70">
                  <c:v>3234.7102726468447</c:v>
                </c:pt>
                <c:pt idx="71">
                  <c:v>3132.5180477344002</c:v>
                </c:pt>
                <c:pt idx="72">
                  <c:v>3034.8192170870798</c:v>
                </c:pt>
                <c:pt idx="73">
                  <c:v>2941.8625687581357</c:v>
                </c:pt>
                <c:pt idx="74">
                  <c:v>2853.76379202818</c:v>
                </c:pt>
                <c:pt idx="75">
                  <c:v>2770.5602045381074</c:v>
                </c:pt>
                <c:pt idx="76">
                  <c:v>2692.246918019508</c:v>
                </c:pt>
                <c:pt idx="77">
                  <c:v>2618.798193780673</c:v>
                </c:pt>
                <c:pt idx="78">
                  <c:v>2550.1883841627828</c:v>
                </c:pt>
                <c:pt idx="79">
                  <c:v>2486.3734739102861</c:v>
                </c:pt>
                <c:pt idx="80">
                  <c:v>2427.258546612135</c:v>
                </c:pt>
                <c:pt idx="81">
                  <c:v>2372.6864885357445</c:v>
                </c:pt>
                <c:pt idx="82">
                  <c:v>2322.4479529265518</c:v>
                </c:pt>
                <c:pt idx="83">
                  <c:v>2276.3013321467274</c:v>
                </c:pt>
                <c:pt idx="84">
                  <c:v>2233.9649761603914</c:v>
                </c:pt>
                <c:pt idx="85">
                  <c:v>2195.1326465706366</c:v>
                </c:pt>
                <c:pt idx="86">
                  <c:v>2159.4861666696311</c:v>
                </c:pt>
                <c:pt idx="87">
                  <c:v>2126.7073747377999</c:v>
                </c:pt>
                <c:pt idx="88">
                  <c:v>2096.4868292186015</c:v>
                </c:pt>
                <c:pt idx="89">
                  <c:v>2068.5296363381899</c:v>
                </c:pt>
                <c:pt idx="90">
                  <c:v>2042.5561249189477</c:v>
                </c:pt>
                <c:pt idx="91">
                  <c:v>2018.3022020011899</c:v>
                </c:pt>
                <c:pt idx="92">
                  <c:v>1995.518722848054</c:v>
                </c:pt>
                <c:pt idx="93">
                  <c:v>1973.9787205801392</c:v>
                </c:pt>
                <c:pt idx="94">
                  <c:v>1953.4805919230546</c:v>
                </c:pt>
                <c:pt idx="95">
                  <c:v>1933.8480410093039</c:v>
                </c:pt>
                <c:pt idx="96">
                  <c:v>1914.9280024510178</c:v>
                </c:pt>
                <c:pt idx="97">
                  <c:v>1896.5870016107658</c:v>
                </c:pt>
                <c:pt idx="98">
                  <c:v>1878.7245339652259</c:v>
                </c:pt>
                <c:pt idx="99">
                  <c:v>1861.2655973864325</c:v>
                </c:pt>
                <c:pt idx="100">
                  <c:v>1844.1534808529698</c:v>
                </c:pt>
                <c:pt idx="101">
                  <c:v>1827.3448641063899</c:v>
                </c:pt>
                <c:pt idx="102">
                  <c:v>1810.8058850418565</c:v>
                </c:pt>
                <c:pt idx="103">
                  <c:v>1794.5103092201423</c:v>
                </c:pt>
                <c:pt idx="104">
                  <c:v>1778.4376019176916</c:v>
                </c:pt>
                <c:pt idx="105">
                  <c:v>1762.5711082779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7390.376078888994</c:v>
                </c:pt>
                <c:pt idx="11">
                  <c:v>7560.5663616120992</c:v>
                </c:pt>
                <c:pt idx="12">
                  <c:v>7731.759888923496</c:v>
                </c:pt>
                <c:pt idx="13">
                  <c:v>7906.3614437905435</c:v>
                </c:pt>
                <c:pt idx="14">
                  <c:v>8081.0306685990772</c:v>
                </c:pt>
                <c:pt idx="15">
                  <c:v>8248.8358272626447</c:v>
                </c:pt>
                <c:pt idx="16">
                  <c:v>8408.4235352037649</c:v>
                </c:pt>
                <c:pt idx="17">
                  <c:v>8553.4595334598653</c:v>
                </c:pt>
                <c:pt idx="18">
                  <c:v>8677.5263222338017</c:v>
                </c:pt>
                <c:pt idx="19">
                  <c:v>8780.8848523242159</c:v>
                </c:pt>
                <c:pt idx="20">
                  <c:v>8864.5370259415486</c:v>
                </c:pt>
                <c:pt idx="21">
                  <c:v>8925.6691299824433</c:v>
                </c:pt>
                <c:pt idx="22">
                  <c:v>8962.8370098400901</c:v>
                </c:pt>
                <c:pt idx="23">
                  <c:v>8977.1357322977565</c:v>
                </c:pt>
                <c:pt idx="24">
                  <c:v>8970.5099558108395</c:v>
                </c:pt>
                <c:pt idx="25">
                  <c:v>8944.9483710805962</c:v>
                </c:pt>
                <c:pt idx="26">
                  <c:v>8901.2184566174383</c:v>
                </c:pt>
                <c:pt idx="27">
                  <c:v>8839.545984773391</c:v>
                </c:pt>
                <c:pt idx="28">
                  <c:v>8759.6368819682466</c:v>
                </c:pt>
                <c:pt idx="29">
                  <c:v>8662.9599938767187</c:v>
                </c:pt>
                <c:pt idx="30">
                  <c:v>8551.5235222076753</c:v>
                </c:pt>
                <c:pt idx="31">
                  <c:v>8426.8782468293412</c:v>
                </c:pt>
                <c:pt idx="32">
                  <c:v>8289.9503448128726</c:v>
                </c:pt>
                <c:pt idx="33">
                  <c:v>8141.8268934944235</c:v>
                </c:pt>
                <c:pt idx="34">
                  <c:v>7983.9742670862415</c:v>
                </c:pt>
                <c:pt idx="35">
                  <c:v>7817.336781502192</c:v>
                </c:pt>
                <c:pt idx="36">
                  <c:v>7643.2841439087324</c:v>
                </c:pt>
                <c:pt idx="37">
                  <c:v>7462.8807235054155</c:v>
                </c:pt>
                <c:pt idx="38">
                  <c:v>7276.9664777328026</c:v>
                </c:pt>
                <c:pt idx="39">
                  <c:v>7086.6495252608902</c:v>
                </c:pt>
                <c:pt idx="40">
                  <c:v>6893.023133288345</c:v>
                </c:pt>
                <c:pt idx="41">
                  <c:v>6696.9343451260074</c:v>
                </c:pt>
                <c:pt idx="42">
                  <c:v>6499.1881300981377</c:v>
                </c:pt>
                <c:pt idx="43">
                  <c:v>6300.7258193655734</c:v>
                </c:pt>
                <c:pt idx="44">
                  <c:v>6102.2622422534714</c:v>
                </c:pt>
                <c:pt idx="45">
                  <c:v>5904.4599146211976</c:v>
                </c:pt>
                <c:pt idx="46">
                  <c:v>5708.0332198479173</c:v>
                </c:pt>
                <c:pt idx="47">
                  <c:v>5513.4814572506493</c:v>
                </c:pt>
                <c:pt idx="48">
                  <c:v>5322.7011502115347</c:v>
                </c:pt>
                <c:pt idx="49">
                  <c:v>5136.0989921154878</c:v>
                </c:pt>
                <c:pt idx="50">
                  <c:v>4953.9156434867891</c:v>
                </c:pt>
                <c:pt idx="51">
                  <c:v>4776.3712721748889</c:v>
                </c:pt>
                <c:pt idx="52">
                  <c:v>4603.6305168492181</c:v>
                </c:pt>
                <c:pt idx="53">
                  <c:v>4435.809941559769</c:v>
                </c:pt>
                <c:pt idx="54">
                  <c:v>4272.9564371910619</c:v>
                </c:pt>
                <c:pt idx="55">
                  <c:v>4115.0384719323229</c:v>
                </c:pt>
                <c:pt idx="56">
                  <c:v>3961.9641177195499</c:v>
                </c:pt>
                <c:pt idx="57">
                  <c:v>3813.5845495850799</c:v>
                </c:pt>
                <c:pt idx="58">
                  <c:v>3669.7408370515359</c:v>
                </c:pt>
                <c:pt idx="59">
                  <c:v>3530.2881179976384</c:v>
                </c:pt>
                <c:pt idx="60">
                  <c:v>3395.1171497090209</c:v>
                </c:pt>
                <c:pt idx="61">
                  <c:v>3264.1483301280509</c:v>
                </c:pt>
                <c:pt idx="62">
                  <c:v>3137.2160545631791</c:v>
                </c:pt>
                <c:pt idx="63">
                  <c:v>3014.1802134697659</c:v>
                </c:pt>
                <c:pt idx="64">
                  <c:v>2895.0883333579691</c:v>
                </c:pt>
                <c:pt idx="65">
                  <c:v>2779.8923620749533</c:v>
                </c:pt>
                <c:pt idx="66">
                  <c:v>2668.513455558385</c:v>
                </c:pt>
                <c:pt idx="67">
                  <c:v>2560.9187104228104</c:v>
                </c:pt>
                <c:pt idx="68">
                  <c:v>2457.104579352324</c:v>
                </c:pt>
                <c:pt idx="69">
                  <c:v>2357.0409803930156</c:v>
                </c:pt>
                <c:pt idx="70">
                  <c:v>2260.7080044390395</c:v>
                </c:pt>
                <c:pt idx="71">
                  <c:v>2168.5236942264246</c:v>
                </c:pt>
                <c:pt idx="72">
                  <c:v>2080.7339332177116</c:v>
                </c:pt>
                <c:pt idx="73">
                  <c:v>1997.4336124521719</c:v>
                </c:pt>
                <c:pt idx="74">
                  <c:v>1918.6324270671246</c:v>
                </c:pt>
                <c:pt idx="75">
                  <c:v>1844.2905732759427</c:v>
                </c:pt>
                <c:pt idx="76">
                  <c:v>1774.3407353181883</c:v>
                </c:pt>
                <c:pt idx="77">
                  <c:v>1708.6961356804984</c:v>
                </c:pt>
                <c:pt idx="78">
                  <c:v>1647.2488107708523</c:v>
                </c:pt>
                <c:pt idx="79">
                  <c:v>1589.8597401378745</c:v>
                </c:pt>
                <c:pt idx="80">
                  <c:v>1536.3621653024416</c:v>
                </c:pt>
                <c:pt idx="81">
                  <c:v>1486.5615048056395</c:v>
                </c:pt>
                <c:pt idx="82">
                  <c:v>1440.2383156176234</c:v>
                </c:pt>
                <c:pt idx="83">
                  <c:v>1397.0711114147584</c:v>
                </c:pt>
                <c:pt idx="84">
                  <c:v>1356.6775706780152</c:v>
                </c:pt>
                <c:pt idx="85">
                  <c:v>1318.6556962910968</c:v>
                </c:pt>
                <c:pt idx="86">
                  <c:v>1282.6038164750046</c:v>
                </c:pt>
                <c:pt idx="87">
                  <c:v>1248.16780305578</c:v>
                </c:pt>
                <c:pt idx="88">
                  <c:v>1215.0369875384508</c:v>
                </c:pt>
                <c:pt idx="89">
                  <c:v>1182.9366880523062</c:v>
                </c:pt>
                <c:pt idx="90">
                  <c:v>1151.6216380273365</c:v>
                </c:pt>
                <c:pt idx="91">
                  <c:v>1120.8733152870509</c:v>
                </c:pt>
                <c:pt idx="92">
                  <c:v>1090.5579626511567</c:v>
                </c:pt>
                <c:pt idx="93">
                  <c:v>1060.6079443164761</c:v>
                </c:pt>
                <c:pt idx="94">
                  <c:v>1031.0022258806455</c:v>
                </c:pt>
                <c:pt idx="95">
                  <c:v>1001.7507720976462</c:v>
                </c:pt>
                <c:pt idx="96">
                  <c:v>972.88267690425448</c:v>
                </c:pt>
                <c:pt idx="97">
                  <c:v>944.43700909276265</c:v>
                </c:pt>
                <c:pt idx="98">
                  <c:v>916.45759145203431</c:v>
                </c:pt>
                <c:pt idx="99">
                  <c:v>888.9921957573946</c:v>
                </c:pt>
                <c:pt idx="100">
                  <c:v>862.09603725550801</c:v>
                </c:pt>
                <c:pt idx="101">
                  <c:v>835.82544682989305</c:v>
                </c:pt>
                <c:pt idx="102">
                  <c:v>810.23205399591552</c:v>
                </c:pt>
                <c:pt idx="103">
                  <c:v>785.35943292395098</c:v>
                </c:pt>
                <c:pt idx="104">
                  <c:v>761.24232753317153</c:v>
                </c:pt>
                <c:pt idx="105">
                  <c:v>737.90723586154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69</c:v>
                </c:pt>
                <c:pt idx="1">
                  <c:v>1212</c:v>
                </c:pt>
                <c:pt idx="2">
                  <c:v>1240</c:v>
                </c:pt>
                <c:pt idx="3">
                  <c:v>1266</c:v>
                </c:pt>
                <c:pt idx="4">
                  <c:v>1269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3</c:v>
                </c:pt>
                <c:pt idx="14">
                  <c:v>1586</c:v>
                </c:pt>
                <c:pt idx="15">
                  <c:v>1597</c:v>
                </c:pt>
                <c:pt idx="16">
                  <c:v>1624</c:v>
                </c:pt>
                <c:pt idx="17">
                  <c:v>1651</c:v>
                </c:pt>
                <c:pt idx="18">
                  <c:v>1671</c:v>
                </c:pt>
                <c:pt idx="19">
                  <c:v>1673</c:v>
                </c:pt>
                <c:pt idx="20">
                  <c:v>1676</c:v>
                </c:pt>
                <c:pt idx="21">
                  <c:v>1770</c:v>
                </c:pt>
                <c:pt idx="22">
                  <c:v>1798</c:v>
                </c:pt>
                <c:pt idx="23">
                  <c:v>1827</c:v>
                </c:pt>
                <c:pt idx="24">
                  <c:v>1817</c:v>
                </c:pt>
                <c:pt idx="25">
                  <c:v>1829</c:v>
                </c:pt>
                <c:pt idx="26">
                  <c:v>1778</c:v>
                </c:pt>
                <c:pt idx="27">
                  <c:v>1825</c:v>
                </c:pt>
                <c:pt idx="28">
                  <c:v>1882</c:v>
                </c:pt>
                <c:pt idx="29">
                  <c:v>1891</c:v>
                </c:pt>
                <c:pt idx="30">
                  <c:v>1859</c:v>
                </c:pt>
                <c:pt idx="31">
                  <c:v>1858</c:v>
                </c:pt>
                <c:pt idx="32">
                  <c:v>1817</c:v>
                </c:pt>
                <c:pt idx="33">
                  <c:v>1777</c:v>
                </c:pt>
                <c:pt idx="34">
                  <c:v>1801</c:v>
                </c:pt>
                <c:pt idx="35">
                  <c:v>1821</c:v>
                </c:pt>
                <c:pt idx="36">
                  <c:v>1774</c:v>
                </c:pt>
                <c:pt idx="37">
                  <c:v>1742</c:v>
                </c:pt>
                <c:pt idx="38">
                  <c:v>1740</c:v>
                </c:pt>
                <c:pt idx="39">
                  <c:v>1677</c:v>
                </c:pt>
                <c:pt idx="40">
                  <c:v>1642</c:v>
                </c:pt>
                <c:pt idx="41">
                  <c:v>1652</c:v>
                </c:pt>
                <c:pt idx="42">
                  <c:v>1662</c:v>
                </c:pt>
                <c:pt idx="43">
                  <c:v>1613</c:v>
                </c:pt>
                <c:pt idx="44">
                  <c:v>1553</c:v>
                </c:pt>
                <c:pt idx="45">
                  <c:v>1505</c:v>
                </c:pt>
                <c:pt idx="46">
                  <c:v>1424</c:v>
                </c:pt>
                <c:pt idx="47">
                  <c:v>1401</c:v>
                </c:pt>
                <c:pt idx="48">
                  <c:v>1379</c:v>
                </c:pt>
                <c:pt idx="49">
                  <c:v>1345</c:v>
                </c:pt>
                <c:pt idx="50">
                  <c:v>1395</c:v>
                </c:pt>
                <c:pt idx="51">
                  <c:v>1362</c:v>
                </c:pt>
                <c:pt idx="52">
                  <c:v>1315</c:v>
                </c:pt>
                <c:pt idx="53">
                  <c:v>1238</c:v>
                </c:pt>
                <c:pt idx="54">
                  <c:v>1220</c:v>
                </c:pt>
                <c:pt idx="55">
                  <c:v>1202</c:v>
                </c:pt>
                <c:pt idx="56">
                  <c:v>1188</c:v>
                </c:pt>
                <c:pt idx="57">
                  <c:v>1159</c:v>
                </c:pt>
                <c:pt idx="58">
                  <c:v>1115</c:v>
                </c:pt>
                <c:pt idx="59">
                  <c:v>1037</c:v>
                </c:pt>
                <c:pt idx="60">
                  <c:v>1015</c:v>
                </c:pt>
                <c:pt idx="61">
                  <c:v>975</c:v>
                </c:pt>
                <c:pt idx="62">
                  <c:v>977</c:v>
                </c:pt>
                <c:pt idx="63">
                  <c:v>995</c:v>
                </c:pt>
                <c:pt idx="64">
                  <c:v>943</c:v>
                </c:pt>
                <c:pt idx="65">
                  <c:v>908</c:v>
                </c:pt>
                <c:pt idx="66">
                  <c:v>834</c:v>
                </c:pt>
                <c:pt idx="67">
                  <c:v>787</c:v>
                </c:pt>
                <c:pt idx="68">
                  <c:v>751</c:v>
                </c:pt>
                <c:pt idx="69">
                  <c:v>761</c:v>
                </c:pt>
                <c:pt idx="70">
                  <c:v>739</c:v>
                </c:pt>
                <c:pt idx="71">
                  <c:v>714</c:v>
                </c:pt>
                <c:pt idx="72">
                  <c:v>686</c:v>
                </c:pt>
                <c:pt idx="73">
                  <c:v>637</c:v>
                </c:pt>
                <c:pt idx="74">
                  <c:v>578</c:v>
                </c:pt>
                <c:pt idx="75">
                  <c:v>556</c:v>
                </c:pt>
                <c:pt idx="76">
                  <c:v>563</c:v>
                </c:pt>
                <c:pt idx="77">
                  <c:v>569</c:v>
                </c:pt>
                <c:pt idx="78">
                  <c:v>549</c:v>
                </c:pt>
                <c:pt idx="79">
                  <c:v>506</c:v>
                </c:pt>
                <c:pt idx="80">
                  <c:v>466</c:v>
                </c:pt>
                <c:pt idx="81">
                  <c:v>443</c:v>
                </c:pt>
                <c:pt idx="82">
                  <c:v>414</c:v>
                </c:pt>
                <c:pt idx="83">
                  <c:v>422</c:v>
                </c:pt>
                <c:pt idx="84">
                  <c:v>427</c:v>
                </c:pt>
                <c:pt idx="85">
                  <c:v>405</c:v>
                </c:pt>
                <c:pt idx="86">
                  <c:v>379</c:v>
                </c:pt>
                <c:pt idx="87">
                  <c:v>362</c:v>
                </c:pt>
                <c:pt idx="88">
                  <c:v>326</c:v>
                </c:pt>
                <c:pt idx="89">
                  <c:v>304</c:v>
                </c:pt>
                <c:pt idx="90">
                  <c:v>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485.369836848839</c:v>
                </c:pt>
                <c:pt idx="11">
                  <c:v>1528.2577177119847</c:v>
                </c:pt>
                <c:pt idx="12">
                  <c:v>1571.7546794861883</c:v>
                </c:pt>
                <c:pt idx="13">
                  <c:v>1616.1751294048318</c:v>
                </c:pt>
                <c:pt idx="14">
                  <c:v>1660.7583668090567</c:v>
                </c:pt>
                <c:pt idx="15">
                  <c:v>1704.0899138010243</c:v>
                </c:pt>
                <c:pt idx="16">
                  <c:v>1745.8498703350597</c:v>
                </c:pt>
                <c:pt idx="17">
                  <c:v>1784.6425516596371</c:v>
                </c:pt>
                <c:pt idx="18">
                  <c:v>1818.991010095853</c:v>
                </c:pt>
                <c:pt idx="19">
                  <c:v>1848.8596907657045</c:v>
                </c:pt>
                <c:pt idx="20">
                  <c:v>1874.2882277786537</c:v>
                </c:pt>
                <c:pt idx="21">
                  <c:v>1894.5176949736626</c:v>
                </c:pt>
                <c:pt idx="22">
                  <c:v>1909.2357250162929</c:v>
                </c:pt>
                <c:pt idx="23">
                  <c:v>1918.7301211161773</c:v>
                </c:pt>
                <c:pt idx="24">
                  <c:v>1923.4505345991092</c:v>
                </c:pt>
                <c:pt idx="25">
                  <c:v>1923.8354386986039</c:v>
                </c:pt>
                <c:pt idx="26">
                  <c:v>1920.1146264919389</c:v>
                </c:pt>
                <c:pt idx="27">
                  <c:v>1912.4085233441933</c:v>
                </c:pt>
                <c:pt idx="28">
                  <c:v>1900.7101245688546</c:v>
                </c:pt>
                <c:pt idx="29">
                  <c:v>1885.3612522560809</c:v>
                </c:pt>
                <c:pt idx="30">
                  <c:v>1866.7959256137001</c:v>
                </c:pt>
                <c:pt idx="31">
                  <c:v>1845.3620003118795</c:v>
                </c:pt>
                <c:pt idx="32">
                  <c:v>1821.3072864363612</c:v>
                </c:pt>
                <c:pt idx="33">
                  <c:v>1794.9373711230892</c:v>
                </c:pt>
                <c:pt idx="34">
                  <c:v>1766.6011558247731</c:v>
                </c:pt>
                <c:pt idx="35">
                  <c:v>1736.4962625590679</c:v>
                </c:pt>
                <c:pt idx="36">
                  <c:v>1704.8907648207064</c:v>
                </c:pt>
                <c:pt idx="37">
                  <c:v>1672.0041499396448</c:v>
                </c:pt>
                <c:pt idx="38">
                  <c:v>1638.0020036804117</c:v>
                </c:pt>
                <c:pt idx="39">
                  <c:v>1603.1032929063774</c:v>
                </c:pt>
                <c:pt idx="40">
                  <c:v>1567.5164558191509</c:v>
                </c:pt>
                <c:pt idx="41">
                  <c:v>1531.3822037359269</c:v>
                </c:pt>
                <c:pt idx="42">
                  <c:v>1494.831472465766</c:v>
                </c:pt>
                <c:pt idx="43">
                  <c:v>1458.01775883544</c:v>
                </c:pt>
                <c:pt idx="44">
                  <c:v>1421.0505812333422</c:v>
                </c:pt>
                <c:pt idx="45">
                  <c:v>1384.0298537825759</c:v>
                </c:pt>
                <c:pt idx="46">
                  <c:v>1347.0684189571548</c:v>
                </c:pt>
                <c:pt idx="47">
                  <c:v>1310.2354488493429</c:v>
                </c:pt>
                <c:pt idx="48">
                  <c:v>1273.9363743396552</c:v>
                </c:pt>
                <c:pt idx="49">
                  <c:v>1238.228515265434</c:v>
                </c:pt>
                <c:pt idx="50">
                  <c:v>1203.1360182843414</c:v>
                </c:pt>
                <c:pt idx="51">
                  <c:v>1168.6864160511914</c:v>
                </c:pt>
                <c:pt idx="52">
                  <c:v>1134.8974087455197</c:v>
                </c:pt>
                <c:pt idx="53">
                  <c:v>1101.7775278903666</c:v>
                </c:pt>
                <c:pt idx="54">
                  <c:v>1069.3450780147566</c:v>
                </c:pt>
                <c:pt idx="55">
                  <c:v>1037.6177017197072</c:v>
                </c:pt>
                <c:pt idx="56">
                  <c:v>1006.6088587337268</c:v>
                </c:pt>
                <c:pt idx="57">
                  <c:v>976.32467527408903</c:v>
                </c:pt>
                <c:pt idx="58">
                  <c:v>946.76985741225053</c:v>
                </c:pt>
                <c:pt idx="59">
                  <c:v>917.95051042984016</c:v>
                </c:pt>
                <c:pt idx="60">
                  <c:v>889.86588246456313</c:v>
                </c:pt>
                <c:pt idx="61">
                  <c:v>862.50767446145153</c:v>
                </c:pt>
                <c:pt idx="62">
                  <c:v>835.84193592179497</c:v>
                </c:pt>
                <c:pt idx="63">
                  <c:v>809.83784041511808</c:v>
                </c:pt>
                <c:pt idx="64">
                  <c:v>784.51653116604859</c:v>
                </c:pt>
                <c:pt idx="65">
                  <c:v>759.88409997846429</c:v>
                </c:pt>
                <c:pt idx="66">
                  <c:v>735.9364708286198</c:v>
                </c:pt>
                <c:pt idx="67">
                  <c:v>712.67298520128179</c:v>
                </c:pt>
                <c:pt idx="68">
                  <c:v>690.0921845958286</c:v>
                </c:pt>
                <c:pt idx="69">
                  <c:v>668.18403695456004</c:v>
                </c:pt>
                <c:pt idx="70">
                  <c:v>646.94205452936899</c:v>
                </c:pt>
                <c:pt idx="71">
                  <c:v>626.50360954688006</c:v>
                </c:pt>
                <c:pt idx="72">
                  <c:v>606.963843417416</c:v>
                </c:pt>
                <c:pt idx="73">
                  <c:v>588.37251375162714</c:v>
                </c:pt>
                <c:pt idx="74">
                  <c:v>570.75275840563597</c:v>
                </c:pt>
                <c:pt idx="75">
                  <c:v>554.11204090762146</c:v>
                </c:pt>
                <c:pt idx="76">
                  <c:v>538.44938360390165</c:v>
                </c:pt>
                <c:pt idx="77">
                  <c:v>523.75963875613468</c:v>
                </c:pt>
                <c:pt idx="78">
                  <c:v>510.0376768325566</c:v>
                </c:pt>
                <c:pt idx="79">
                  <c:v>497.27469478205722</c:v>
                </c:pt>
                <c:pt idx="80">
                  <c:v>485.45170932242701</c:v>
                </c:pt>
                <c:pt idx="81">
                  <c:v>474.53729770714892</c:v>
                </c:pt>
                <c:pt idx="82">
                  <c:v>464.4895905853104</c:v>
                </c:pt>
                <c:pt idx="83">
                  <c:v>455.26026642934551</c:v>
                </c:pt>
                <c:pt idx="84">
                  <c:v>446.79299523207828</c:v>
                </c:pt>
                <c:pt idx="85">
                  <c:v>439.02652931412734</c:v>
                </c:pt>
                <c:pt idx="86">
                  <c:v>431.89723333392624</c:v>
                </c:pt>
                <c:pt idx="87">
                  <c:v>425.34147494756002</c:v>
                </c:pt>
                <c:pt idx="88">
                  <c:v>419.29736584372034</c:v>
                </c:pt>
                <c:pt idx="89">
                  <c:v>413.705927267638</c:v>
                </c:pt>
                <c:pt idx="90">
                  <c:v>408.51122498378959</c:v>
                </c:pt>
                <c:pt idx="91">
                  <c:v>403.66044040023803</c:v>
                </c:pt>
                <c:pt idx="92">
                  <c:v>399.10374456961085</c:v>
                </c:pt>
                <c:pt idx="93">
                  <c:v>394.79574411602789</c:v>
                </c:pt>
                <c:pt idx="94">
                  <c:v>390.69611838461094</c:v>
                </c:pt>
                <c:pt idx="95">
                  <c:v>386.76960820186082</c:v>
                </c:pt>
                <c:pt idx="96">
                  <c:v>382.98560049020358</c:v>
                </c:pt>
                <c:pt idx="97">
                  <c:v>379.31740032215316</c:v>
                </c:pt>
                <c:pt idx="98">
                  <c:v>375.74490679304517</c:v>
                </c:pt>
                <c:pt idx="99">
                  <c:v>372.25311947728653</c:v>
                </c:pt>
                <c:pt idx="100">
                  <c:v>368.83069617059397</c:v>
                </c:pt>
                <c:pt idx="101">
                  <c:v>365.46897282127799</c:v>
                </c:pt>
                <c:pt idx="102">
                  <c:v>362.16117700837134</c:v>
                </c:pt>
                <c:pt idx="103">
                  <c:v>358.90206184402848</c:v>
                </c:pt>
                <c:pt idx="104">
                  <c:v>355.68752038353836</c:v>
                </c:pt>
                <c:pt idx="105">
                  <c:v>352.51422165559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478.0752157777988</c:v>
                </c:pt>
                <c:pt idx="11">
                  <c:v>1512.11327232242</c:v>
                </c:pt>
                <c:pt idx="12">
                  <c:v>1546.3519777846993</c:v>
                </c:pt>
                <c:pt idx="13">
                  <c:v>1581.2722887581087</c:v>
                </c:pt>
                <c:pt idx="14">
                  <c:v>1616.2061337198156</c:v>
                </c:pt>
                <c:pt idx="15">
                  <c:v>1649.7671654525291</c:v>
                </c:pt>
                <c:pt idx="16">
                  <c:v>1681.684707040753</c:v>
                </c:pt>
                <c:pt idx="17">
                  <c:v>1710.6919066919731</c:v>
                </c:pt>
                <c:pt idx="18">
                  <c:v>1735.5052644467605</c:v>
                </c:pt>
                <c:pt idx="19">
                  <c:v>1756.1769704648432</c:v>
                </c:pt>
                <c:pt idx="20">
                  <c:v>1772.9074051883099</c:v>
                </c:pt>
                <c:pt idx="21">
                  <c:v>1785.1338259964887</c:v>
                </c:pt>
                <c:pt idx="22">
                  <c:v>1792.5674019680182</c:v>
                </c:pt>
                <c:pt idx="23">
                  <c:v>1795.4271464595513</c:v>
                </c:pt>
                <c:pt idx="24">
                  <c:v>1794.1019911621679</c:v>
                </c:pt>
                <c:pt idx="25">
                  <c:v>1788.9896742161193</c:v>
                </c:pt>
                <c:pt idx="26">
                  <c:v>1780.2436913234878</c:v>
                </c:pt>
                <c:pt idx="27">
                  <c:v>1767.9091969546782</c:v>
                </c:pt>
                <c:pt idx="28">
                  <c:v>1751.9273763936494</c:v>
                </c:pt>
                <c:pt idx="29">
                  <c:v>1732.5919987753439</c:v>
                </c:pt>
                <c:pt idx="30">
                  <c:v>1710.3047044415353</c:v>
                </c:pt>
                <c:pt idx="31">
                  <c:v>1685.3756493658684</c:v>
                </c:pt>
                <c:pt idx="32">
                  <c:v>1657.9900689625747</c:v>
                </c:pt>
                <c:pt idx="33">
                  <c:v>1628.3653786988848</c:v>
                </c:pt>
                <c:pt idx="34">
                  <c:v>1596.7948534172483</c:v>
                </c:pt>
                <c:pt idx="35">
                  <c:v>1563.4673563004385</c:v>
                </c:pt>
                <c:pt idx="36">
                  <c:v>1528.6568287817465</c:v>
                </c:pt>
                <c:pt idx="37">
                  <c:v>1492.5761447010832</c:v>
                </c:pt>
                <c:pt idx="38">
                  <c:v>1455.3932955465607</c:v>
                </c:pt>
                <c:pt idx="39">
                  <c:v>1417.3299050521782</c:v>
                </c:pt>
                <c:pt idx="40">
                  <c:v>1378.6046266576691</c:v>
                </c:pt>
                <c:pt idx="41">
                  <c:v>1339.3868690252016</c:v>
                </c:pt>
                <c:pt idx="42">
                  <c:v>1299.8376260196276</c:v>
                </c:pt>
                <c:pt idx="43">
                  <c:v>1260.1451638731148</c:v>
                </c:pt>
                <c:pt idx="44">
                  <c:v>1220.4524484506944</c:v>
                </c:pt>
                <c:pt idx="45">
                  <c:v>1180.8919829242395</c:v>
                </c:pt>
                <c:pt idx="46">
                  <c:v>1141.6066439695835</c:v>
                </c:pt>
                <c:pt idx="47">
                  <c:v>1102.6962914501298</c:v>
                </c:pt>
                <c:pt idx="48">
                  <c:v>1064.540230042307</c:v>
                </c:pt>
                <c:pt idx="49">
                  <c:v>1027.2197984230977</c:v>
                </c:pt>
                <c:pt idx="50">
                  <c:v>990.78312869735782</c:v>
                </c:pt>
                <c:pt idx="51">
                  <c:v>955.27425443497782</c:v>
                </c:pt>
                <c:pt idx="52">
                  <c:v>920.72610336984371</c:v>
                </c:pt>
                <c:pt idx="53">
                  <c:v>887.16198831195379</c:v>
                </c:pt>
                <c:pt idx="54">
                  <c:v>854.59128743821248</c:v>
                </c:pt>
                <c:pt idx="55">
                  <c:v>823.00769438646466</c:v>
                </c:pt>
                <c:pt idx="56">
                  <c:v>792.39282354391003</c:v>
                </c:pt>
                <c:pt idx="57">
                  <c:v>762.71690991701598</c:v>
                </c:pt>
                <c:pt idx="58">
                  <c:v>733.94816741030718</c:v>
                </c:pt>
                <c:pt idx="59">
                  <c:v>706.05762359952769</c:v>
                </c:pt>
                <c:pt idx="60">
                  <c:v>679.02342994180424</c:v>
                </c:pt>
                <c:pt idx="61">
                  <c:v>652.82966602561021</c:v>
                </c:pt>
                <c:pt idx="62">
                  <c:v>627.44321091263589</c:v>
                </c:pt>
                <c:pt idx="63">
                  <c:v>602.83604269395323</c:v>
                </c:pt>
                <c:pt idx="64">
                  <c:v>579.01766667159382</c:v>
                </c:pt>
                <c:pt idx="65">
                  <c:v>555.97847241499073</c:v>
                </c:pt>
                <c:pt idx="66">
                  <c:v>533.70269111167704</c:v>
                </c:pt>
                <c:pt idx="67">
                  <c:v>512.18374208456214</c:v>
                </c:pt>
                <c:pt idx="68">
                  <c:v>491.4209158704648</c:v>
                </c:pt>
                <c:pt idx="69">
                  <c:v>471.40819607860317</c:v>
                </c:pt>
                <c:pt idx="70">
                  <c:v>452.14160088780795</c:v>
                </c:pt>
                <c:pt idx="71">
                  <c:v>433.70473884528496</c:v>
                </c:pt>
                <c:pt idx="72">
                  <c:v>416.14678664354233</c:v>
                </c:pt>
                <c:pt idx="73">
                  <c:v>399.48672249043443</c:v>
                </c:pt>
                <c:pt idx="74">
                  <c:v>383.72648541342494</c:v>
                </c:pt>
                <c:pt idx="75">
                  <c:v>368.85811465518856</c:v>
                </c:pt>
                <c:pt idx="76">
                  <c:v>354.86814706363771</c:v>
                </c:pt>
                <c:pt idx="77">
                  <c:v>341.73922713609971</c:v>
                </c:pt>
                <c:pt idx="78">
                  <c:v>329.44976215417046</c:v>
                </c:pt>
                <c:pt idx="79">
                  <c:v>317.97194802757491</c:v>
                </c:pt>
                <c:pt idx="80">
                  <c:v>307.27243306048831</c:v>
                </c:pt>
                <c:pt idx="81">
                  <c:v>297.3123009611279</c:v>
                </c:pt>
                <c:pt idx="82">
                  <c:v>288.04766312352467</c:v>
                </c:pt>
                <c:pt idx="83">
                  <c:v>279.4142222829517</c:v>
                </c:pt>
                <c:pt idx="84">
                  <c:v>271.33551413560303</c:v>
                </c:pt>
                <c:pt idx="85">
                  <c:v>263.73113925821934</c:v>
                </c:pt>
                <c:pt idx="86">
                  <c:v>256.5207632950009</c:v>
                </c:pt>
                <c:pt idx="87">
                  <c:v>249.63356061115601</c:v>
                </c:pt>
                <c:pt idx="88">
                  <c:v>243.00739750769017</c:v>
                </c:pt>
                <c:pt idx="89">
                  <c:v>236.58733761046125</c:v>
                </c:pt>
                <c:pt idx="90">
                  <c:v>230.32432760546732</c:v>
                </c:pt>
                <c:pt idx="91">
                  <c:v>224.17466305741019</c:v>
                </c:pt>
                <c:pt idx="92">
                  <c:v>218.11159253023135</c:v>
                </c:pt>
                <c:pt idx="93">
                  <c:v>212.12158886329522</c:v>
                </c:pt>
                <c:pt idx="94">
                  <c:v>206.20044517612911</c:v>
                </c:pt>
                <c:pt idx="95">
                  <c:v>200.35015441952925</c:v>
                </c:pt>
                <c:pt idx="96">
                  <c:v>194.57653538085091</c:v>
                </c:pt>
                <c:pt idx="97">
                  <c:v>188.88740181855255</c:v>
                </c:pt>
                <c:pt idx="98">
                  <c:v>183.29151829040688</c:v>
                </c:pt>
                <c:pt idx="99">
                  <c:v>177.79843915147893</c:v>
                </c:pt>
                <c:pt idx="100">
                  <c:v>172.41920745110161</c:v>
                </c:pt>
                <c:pt idx="101">
                  <c:v>167.16508936597862</c:v>
                </c:pt>
                <c:pt idx="102">
                  <c:v>162.04641079918312</c:v>
                </c:pt>
                <c:pt idx="103">
                  <c:v>157.07188658479021</c:v>
                </c:pt>
                <c:pt idx="104">
                  <c:v>152.24846550663432</c:v>
                </c:pt>
                <c:pt idx="105">
                  <c:v>147.58144717230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778605280974949E-2"/>
          <c:y val="2.9171253341720396E-2"/>
          <c:w val="0.91251364292647907"/>
          <c:h val="0.9031911464066677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ocenta 2 davka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87</c:f>
              <c:numCache>
                <c:formatCode>General</c:formatCode>
                <c:ptCount val="8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</c:numCache>
            </c:numRef>
          </c:cat>
          <c:val>
            <c:numRef>
              <c:f>List1!$B$2:$B$87</c:f>
              <c:numCache>
                <c:formatCode>0.00%</c:formatCode>
                <c:ptCount val="86"/>
                <c:pt idx="0">
                  <c:v>0</c:v>
                </c:pt>
                <c:pt idx="1">
                  <c:v>1.1000000000000001E-6</c:v>
                </c:pt>
                <c:pt idx="2">
                  <c:v>1.1000000000000001E-6</c:v>
                </c:pt>
                <c:pt idx="3">
                  <c:v>2.21E-6</c:v>
                </c:pt>
                <c:pt idx="4">
                  <c:v>5.5099999999999998E-6</c:v>
                </c:pt>
                <c:pt idx="5">
                  <c:v>2.21E-6</c:v>
                </c:pt>
                <c:pt idx="6">
                  <c:v>2.21E-6</c:v>
                </c:pt>
                <c:pt idx="7">
                  <c:v>6.6200000000000001E-6</c:v>
                </c:pt>
                <c:pt idx="8">
                  <c:v>5.5099999999999998E-6</c:v>
                </c:pt>
                <c:pt idx="9">
                  <c:v>8.8200000000000003E-6</c:v>
                </c:pt>
                <c:pt idx="10">
                  <c:v>3.3100000000000001E-6</c:v>
                </c:pt>
                <c:pt idx="11">
                  <c:v>4.4100000000000001E-6</c:v>
                </c:pt>
                <c:pt idx="12">
                  <c:v>5.5099999999999998E-6</c:v>
                </c:pt>
                <c:pt idx="13">
                  <c:v>9.9299999999999998E-6</c:v>
                </c:pt>
                <c:pt idx="14">
                  <c:v>9.9299999999999998E-6</c:v>
                </c:pt>
                <c:pt idx="15">
                  <c:v>6.6200000000000001E-6</c:v>
                </c:pt>
                <c:pt idx="16">
                  <c:v>6.6200000000000001E-6</c:v>
                </c:pt>
                <c:pt idx="17">
                  <c:v>2.21E-6</c:v>
                </c:pt>
                <c:pt idx="18">
                  <c:v>6.6200000000000001E-6</c:v>
                </c:pt>
                <c:pt idx="19">
                  <c:v>3.3100000000000001E-6</c:v>
                </c:pt>
                <c:pt idx="20">
                  <c:v>4.4100000000000001E-6</c:v>
                </c:pt>
                <c:pt idx="21">
                  <c:v>4.4100000000000001E-6</c:v>
                </c:pt>
                <c:pt idx="22">
                  <c:v>7.7200000000000006E-6</c:v>
                </c:pt>
                <c:pt idx="23">
                  <c:v>2.21E-6</c:v>
                </c:pt>
                <c:pt idx="24">
                  <c:v>9.9299999999999998E-6</c:v>
                </c:pt>
                <c:pt idx="25">
                  <c:v>3.3100000000000001E-6</c:v>
                </c:pt>
                <c:pt idx="26">
                  <c:v>5.5099999999999998E-6</c:v>
                </c:pt>
                <c:pt idx="27">
                  <c:v>6.6200000000000001E-6</c:v>
                </c:pt>
                <c:pt idx="28">
                  <c:v>5.5099999999999998E-6</c:v>
                </c:pt>
                <c:pt idx="29">
                  <c:v>5.5099999999999998E-6</c:v>
                </c:pt>
                <c:pt idx="30">
                  <c:v>2.21E-6</c:v>
                </c:pt>
                <c:pt idx="31">
                  <c:v>4.4100000000000001E-6</c:v>
                </c:pt>
                <c:pt idx="32">
                  <c:v>1.1000000000000001E-6</c:v>
                </c:pt>
                <c:pt idx="33">
                  <c:v>2.21E-6</c:v>
                </c:pt>
                <c:pt idx="34">
                  <c:v>2.21E-6</c:v>
                </c:pt>
                <c:pt idx="35">
                  <c:v>1.1000000000000001E-6</c:v>
                </c:pt>
                <c:pt idx="36">
                  <c:v>4.4100000000000001E-6</c:v>
                </c:pt>
                <c:pt idx="37">
                  <c:v>1.1000000000000001E-6</c:v>
                </c:pt>
                <c:pt idx="38">
                  <c:v>3.3100000000000001E-6</c:v>
                </c:pt>
                <c:pt idx="39">
                  <c:v>1.1000000000000001E-6</c:v>
                </c:pt>
                <c:pt idx="40">
                  <c:v>1.1000000000000001E-6</c:v>
                </c:pt>
                <c:pt idx="41">
                  <c:v>2.21E-6</c:v>
                </c:pt>
                <c:pt idx="42">
                  <c:v>2.21E-6</c:v>
                </c:pt>
                <c:pt idx="43">
                  <c:v>1.1000000000000001E-6</c:v>
                </c:pt>
                <c:pt idx="44">
                  <c:v>1.1000000000000001E-6</c:v>
                </c:pt>
                <c:pt idx="45">
                  <c:v>2.21E-6</c:v>
                </c:pt>
                <c:pt idx="46">
                  <c:v>1.1000000000000001E-6</c:v>
                </c:pt>
                <c:pt idx="47">
                  <c:v>2.21E-6</c:v>
                </c:pt>
                <c:pt idx="48">
                  <c:v>3.3100000000000001E-6</c:v>
                </c:pt>
                <c:pt idx="49">
                  <c:v>2.21E-6</c:v>
                </c:pt>
                <c:pt idx="50">
                  <c:v>0</c:v>
                </c:pt>
                <c:pt idx="51">
                  <c:v>2.21E-6</c:v>
                </c:pt>
                <c:pt idx="52">
                  <c:v>0</c:v>
                </c:pt>
                <c:pt idx="53">
                  <c:v>1.1000000000000001E-6</c:v>
                </c:pt>
                <c:pt idx="54">
                  <c:v>0</c:v>
                </c:pt>
                <c:pt idx="55">
                  <c:v>2.21E-6</c:v>
                </c:pt>
                <c:pt idx="56">
                  <c:v>1.1000000000000001E-6</c:v>
                </c:pt>
                <c:pt idx="57">
                  <c:v>2.21E-6</c:v>
                </c:pt>
                <c:pt idx="58">
                  <c:v>1.1000000000000001E-6</c:v>
                </c:pt>
                <c:pt idx="59">
                  <c:v>0</c:v>
                </c:pt>
                <c:pt idx="60">
                  <c:v>1.1000000000000001E-6</c:v>
                </c:pt>
                <c:pt idx="61">
                  <c:v>1.1000000000000001E-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1.1000000000000001E-6</c:v>
                </c:pt>
                <c:pt idx="66">
                  <c:v>2.21E-6</c:v>
                </c:pt>
                <c:pt idx="67">
                  <c:v>4.4100000000000001E-6</c:v>
                </c:pt>
                <c:pt idx="68">
                  <c:v>1.1000000000000001E-6</c:v>
                </c:pt>
                <c:pt idx="69">
                  <c:v>0</c:v>
                </c:pt>
                <c:pt idx="70">
                  <c:v>1.1000000000000001E-6</c:v>
                </c:pt>
                <c:pt idx="71">
                  <c:v>1.1000000000000001E-6</c:v>
                </c:pt>
                <c:pt idx="72">
                  <c:v>1.1000000000000001E-6</c:v>
                </c:pt>
                <c:pt idx="73">
                  <c:v>1.1000000000000001E-6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1.1000000000000001E-6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73-4F7D-AE92-AD9DA4598E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ocenta 1 davka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87</c:f>
              <c:numCache>
                <c:formatCode>General</c:formatCode>
                <c:ptCount val="8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</c:numCache>
            </c:numRef>
          </c:cat>
          <c:val>
            <c:numRef>
              <c:f>List1!$C$2:$C$87</c:f>
              <c:numCache>
                <c:formatCode>0.00%</c:formatCode>
                <c:ptCount val="86"/>
                <c:pt idx="0">
                  <c:v>0</c:v>
                </c:pt>
                <c:pt idx="1">
                  <c:v>1.2100000000000001E-6</c:v>
                </c:pt>
                <c:pt idx="2">
                  <c:v>7.2599999999999999E-6</c:v>
                </c:pt>
                <c:pt idx="3">
                  <c:v>3.63E-6</c:v>
                </c:pt>
                <c:pt idx="4">
                  <c:v>1.0879999999999999E-5</c:v>
                </c:pt>
                <c:pt idx="5">
                  <c:v>4.8400000000000002E-6</c:v>
                </c:pt>
                <c:pt idx="6">
                  <c:v>2.6599999999999999E-5</c:v>
                </c:pt>
                <c:pt idx="7">
                  <c:v>2.5389999999999999E-5</c:v>
                </c:pt>
                <c:pt idx="8">
                  <c:v>3.748E-5</c:v>
                </c:pt>
                <c:pt idx="9">
                  <c:v>2.6599999999999999E-5</c:v>
                </c:pt>
                <c:pt idx="10">
                  <c:v>5.1990000000000002E-5</c:v>
                </c:pt>
                <c:pt idx="11">
                  <c:v>5.1990000000000002E-5</c:v>
                </c:pt>
                <c:pt idx="12">
                  <c:v>7.0129999999999994E-5</c:v>
                </c:pt>
                <c:pt idx="13">
                  <c:v>7.9809999999999997E-5</c:v>
                </c:pt>
                <c:pt idx="14">
                  <c:v>5.6830000000000003E-5</c:v>
                </c:pt>
                <c:pt idx="15">
                  <c:v>7.2550000000000002E-5</c:v>
                </c:pt>
                <c:pt idx="16">
                  <c:v>7.4969999999999995E-5</c:v>
                </c:pt>
                <c:pt idx="17">
                  <c:v>5.9249999999999997E-5</c:v>
                </c:pt>
                <c:pt idx="18">
                  <c:v>6.4090000000000005E-5</c:v>
                </c:pt>
                <c:pt idx="19">
                  <c:v>7.6180000000000006E-5</c:v>
                </c:pt>
                <c:pt idx="20">
                  <c:v>6.8919999999999997E-5</c:v>
                </c:pt>
                <c:pt idx="21">
                  <c:v>6.2879999999999994E-5</c:v>
                </c:pt>
                <c:pt idx="22">
                  <c:v>5.079E-5</c:v>
                </c:pt>
                <c:pt idx="23">
                  <c:v>5.079E-5</c:v>
                </c:pt>
                <c:pt idx="24">
                  <c:v>6.1669999999999997E-5</c:v>
                </c:pt>
                <c:pt idx="25">
                  <c:v>3.6279999999999998E-5</c:v>
                </c:pt>
                <c:pt idx="26">
                  <c:v>3.3859999999999998E-5</c:v>
                </c:pt>
                <c:pt idx="27">
                  <c:v>2.177E-5</c:v>
                </c:pt>
                <c:pt idx="28">
                  <c:v>2.2969999999999999E-5</c:v>
                </c:pt>
                <c:pt idx="29">
                  <c:v>4.5949999999999999E-5</c:v>
                </c:pt>
                <c:pt idx="30">
                  <c:v>2.056E-5</c:v>
                </c:pt>
                <c:pt idx="31">
                  <c:v>2.177E-5</c:v>
                </c:pt>
                <c:pt idx="32">
                  <c:v>2.056E-5</c:v>
                </c:pt>
                <c:pt idx="33">
                  <c:v>2.4179999999999999E-5</c:v>
                </c:pt>
                <c:pt idx="34">
                  <c:v>1.33E-5</c:v>
                </c:pt>
                <c:pt idx="35">
                  <c:v>1.6929999999999999E-5</c:v>
                </c:pt>
                <c:pt idx="36">
                  <c:v>8.4600000000000003E-6</c:v>
                </c:pt>
                <c:pt idx="37">
                  <c:v>1.33E-5</c:v>
                </c:pt>
                <c:pt idx="38">
                  <c:v>7.2599999999999999E-6</c:v>
                </c:pt>
                <c:pt idx="39">
                  <c:v>7.2599999999999999E-6</c:v>
                </c:pt>
                <c:pt idx="40">
                  <c:v>1.0879999999999999E-5</c:v>
                </c:pt>
                <c:pt idx="41">
                  <c:v>6.0499999999999997E-6</c:v>
                </c:pt>
                <c:pt idx="42">
                  <c:v>1.0879999999999999E-5</c:v>
                </c:pt>
                <c:pt idx="43">
                  <c:v>4.8400000000000002E-6</c:v>
                </c:pt>
                <c:pt idx="44">
                  <c:v>0</c:v>
                </c:pt>
                <c:pt idx="45">
                  <c:v>8.4600000000000003E-6</c:v>
                </c:pt>
                <c:pt idx="46">
                  <c:v>4.8400000000000002E-6</c:v>
                </c:pt>
                <c:pt idx="47">
                  <c:v>4.8400000000000002E-6</c:v>
                </c:pt>
                <c:pt idx="48">
                  <c:v>0</c:v>
                </c:pt>
                <c:pt idx="49">
                  <c:v>2.4200000000000001E-6</c:v>
                </c:pt>
                <c:pt idx="50">
                  <c:v>2.4200000000000001E-6</c:v>
                </c:pt>
                <c:pt idx="51">
                  <c:v>0</c:v>
                </c:pt>
                <c:pt idx="52">
                  <c:v>2.4200000000000001E-6</c:v>
                </c:pt>
                <c:pt idx="53">
                  <c:v>3.63E-6</c:v>
                </c:pt>
                <c:pt idx="54">
                  <c:v>2.4200000000000001E-6</c:v>
                </c:pt>
                <c:pt idx="55">
                  <c:v>0</c:v>
                </c:pt>
                <c:pt idx="56">
                  <c:v>1.2100000000000001E-6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1.2100000000000001E-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2.4200000000000001E-6</c:v>
                </c:pt>
                <c:pt idx="66">
                  <c:v>1.2100000000000001E-6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1.2100000000000001E-6</c:v>
                </c:pt>
                <c:pt idx="71">
                  <c:v>0</c:v>
                </c:pt>
                <c:pt idx="72">
                  <c:v>1.2100000000000001E-6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1.2100000000000001E-6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73-4F7D-AE92-AD9DA4598E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26870383"/>
        <c:axId val="1680393071"/>
      </c:lineChart>
      <c:dateAx>
        <c:axId val="1526870383"/>
        <c:scaling>
          <c:orientation val="minMax"/>
          <c:max val="88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80393071"/>
        <c:crosses val="autoZero"/>
        <c:auto val="0"/>
        <c:lblOffset val="100"/>
        <c:baseTimeUnit val="days"/>
        <c:majorUnit val="7"/>
        <c:minorUnit val="7"/>
      </c:dateAx>
      <c:valAx>
        <c:axId val="1680393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26870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Bez nákaz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2:$C$2</c:f>
              <c:numCache>
                <c:formatCode>#,##0</c:formatCode>
                <c:ptCount val="2"/>
                <c:pt idx="0">
                  <c:v>1569115</c:v>
                </c:pt>
                <c:pt idx="1">
                  <c:v>10600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F8-47A7-8ED3-33230B4AB067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Expozice před očkováním*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3:$C$3</c:f>
              <c:numCache>
                <c:formatCode>#,##0</c:formatCode>
                <c:ptCount val="2"/>
                <c:pt idx="0">
                  <c:v>11386</c:v>
                </c:pt>
                <c:pt idx="1">
                  <c:v>17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F8-47A7-8ED3-33230B4AB067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Lehký průbě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4:$C$4</c:f>
              <c:numCache>
                <c:formatCode>#,##0</c:formatCode>
                <c:ptCount val="2"/>
                <c:pt idx="0">
                  <c:v>6832</c:v>
                </c:pt>
                <c:pt idx="1">
                  <c:v>15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F8-47A7-8ED3-33230B4AB067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Těžký průbě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5:$C$5</c:f>
              <c:numCache>
                <c:formatCode>General</c:formatCode>
                <c:ptCount val="2"/>
                <c:pt idx="0">
                  <c:v>973</c:v>
                </c:pt>
                <c:pt idx="1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3F8-47A7-8ED3-33230B4AB0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466281184"/>
        <c:axId val="1466285760"/>
      </c:barChart>
      <c:catAx>
        <c:axId val="146628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5760"/>
        <c:crosses val="autoZero"/>
        <c:auto val="1"/>
        <c:lblAlgn val="ctr"/>
        <c:lblOffset val="100"/>
        <c:noMultiLvlLbl val="0"/>
      </c:catAx>
      <c:valAx>
        <c:axId val="146628576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1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Bez nákaz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2:$C$2</c:f>
              <c:numCache>
                <c:formatCode>#,##0</c:formatCode>
                <c:ptCount val="2"/>
                <c:pt idx="0">
                  <c:v>1569115</c:v>
                </c:pt>
                <c:pt idx="1">
                  <c:v>10600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7A-4FE0-8E7F-32A4BDBD9B7F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EX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3:$C$3</c:f>
              <c:numCache>
                <c:formatCode>#,##0</c:formatCode>
                <c:ptCount val="2"/>
                <c:pt idx="0">
                  <c:v>11386</c:v>
                </c:pt>
                <c:pt idx="1">
                  <c:v>17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7A-4FE0-8E7F-32A4BDBD9B7F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Lehký průbě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4:$C$4</c:f>
              <c:numCache>
                <c:formatCode>#,##0</c:formatCode>
                <c:ptCount val="2"/>
                <c:pt idx="0">
                  <c:v>6832</c:v>
                </c:pt>
                <c:pt idx="1">
                  <c:v>15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7A-4FE0-8E7F-32A4BDBD9B7F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Těžký průbě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5:$C$5</c:f>
              <c:numCache>
                <c:formatCode>General</c:formatCode>
                <c:ptCount val="2"/>
                <c:pt idx="0">
                  <c:v>973</c:v>
                </c:pt>
                <c:pt idx="1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7A-4FE0-8E7F-32A4BDBD9B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466281184"/>
        <c:axId val="1466285760"/>
      </c:barChart>
      <c:catAx>
        <c:axId val="146628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5760"/>
        <c:crosses val="autoZero"/>
        <c:auto val="1"/>
        <c:lblAlgn val="ctr"/>
        <c:lblOffset val="100"/>
        <c:noMultiLvlLbl val="0"/>
      </c:catAx>
      <c:valAx>
        <c:axId val="1466285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65387602612039508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 ve věku 70-79 celkem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2:$EE$2</c:f>
              <c:numCache>
                <c:formatCode>General</c:formatCode>
                <c:ptCount val="133"/>
                <c:pt idx="0">
                  <c:v>173</c:v>
                </c:pt>
                <c:pt idx="1">
                  <c:v>329</c:v>
                </c:pt>
                <c:pt idx="2">
                  <c:v>485</c:v>
                </c:pt>
                <c:pt idx="3">
                  <c:v>596</c:v>
                </c:pt>
                <c:pt idx="4">
                  <c:v>604</c:v>
                </c:pt>
                <c:pt idx="5">
                  <c:v>644</c:v>
                </c:pt>
                <c:pt idx="6">
                  <c:v>673</c:v>
                </c:pt>
                <c:pt idx="7">
                  <c:v>804</c:v>
                </c:pt>
                <c:pt idx="8">
                  <c:v>953</c:v>
                </c:pt>
                <c:pt idx="9">
                  <c:v>1190</c:v>
                </c:pt>
                <c:pt idx="10">
                  <c:v>1643</c:v>
                </c:pt>
                <c:pt idx="11">
                  <c:v>2149</c:v>
                </c:pt>
                <c:pt idx="12">
                  <c:v>2328</c:v>
                </c:pt>
                <c:pt idx="13">
                  <c:v>2479</c:v>
                </c:pt>
                <c:pt idx="14">
                  <c:v>2933</c:v>
                </c:pt>
                <c:pt idx="15">
                  <c:v>3831</c:v>
                </c:pt>
                <c:pt idx="16">
                  <c:v>5031</c:v>
                </c:pt>
                <c:pt idx="17">
                  <c:v>6449</c:v>
                </c:pt>
                <c:pt idx="18">
                  <c:v>7681</c:v>
                </c:pt>
                <c:pt idx="19">
                  <c:v>8035</c:v>
                </c:pt>
                <c:pt idx="20">
                  <c:v>8260</c:v>
                </c:pt>
                <c:pt idx="21">
                  <c:v>9247</c:v>
                </c:pt>
                <c:pt idx="22">
                  <c:v>10233</c:v>
                </c:pt>
                <c:pt idx="23">
                  <c:v>11351</c:v>
                </c:pt>
                <c:pt idx="24">
                  <c:v>12499</c:v>
                </c:pt>
                <c:pt idx="25">
                  <c:v>13354</c:v>
                </c:pt>
                <c:pt idx="26">
                  <c:v>13563</c:v>
                </c:pt>
                <c:pt idx="27">
                  <c:v>13696</c:v>
                </c:pt>
                <c:pt idx="28">
                  <c:v>14226</c:v>
                </c:pt>
                <c:pt idx="29">
                  <c:v>14864</c:v>
                </c:pt>
                <c:pt idx="30">
                  <c:v>15446</c:v>
                </c:pt>
                <c:pt idx="31">
                  <c:v>16051</c:v>
                </c:pt>
                <c:pt idx="32">
                  <c:v>16696</c:v>
                </c:pt>
                <c:pt idx="33">
                  <c:v>16829</c:v>
                </c:pt>
                <c:pt idx="34">
                  <c:v>16976</c:v>
                </c:pt>
                <c:pt idx="35">
                  <c:v>17593</c:v>
                </c:pt>
                <c:pt idx="36">
                  <c:v>18446</c:v>
                </c:pt>
                <c:pt idx="37">
                  <c:v>19587</c:v>
                </c:pt>
                <c:pt idx="38">
                  <c:v>20914</c:v>
                </c:pt>
                <c:pt idx="39">
                  <c:v>22055</c:v>
                </c:pt>
                <c:pt idx="40">
                  <c:v>22213</c:v>
                </c:pt>
                <c:pt idx="41">
                  <c:v>22380</c:v>
                </c:pt>
                <c:pt idx="42">
                  <c:v>23322</c:v>
                </c:pt>
                <c:pt idx="43">
                  <c:v>24446</c:v>
                </c:pt>
                <c:pt idx="44">
                  <c:v>25757</c:v>
                </c:pt>
                <c:pt idx="45">
                  <c:v>27469</c:v>
                </c:pt>
                <c:pt idx="46">
                  <c:v>28926</c:v>
                </c:pt>
                <c:pt idx="47">
                  <c:v>29260</c:v>
                </c:pt>
                <c:pt idx="48">
                  <c:v>29345</c:v>
                </c:pt>
                <c:pt idx="49">
                  <c:v>30293</c:v>
                </c:pt>
                <c:pt idx="50">
                  <c:v>31505</c:v>
                </c:pt>
                <c:pt idx="51">
                  <c:v>32768</c:v>
                </c:pt>
                <c:pt idx="52">
                  <c:v>34118</c:v>
                </c:pt>
                <c:pt idx="53">
                  <c:v>35390</c:v>
                </c:pt>
                <c:pt idx="54">
                  <c:v>35521</c:v>
                </c:pt>
                <c:pt idx="55">
                  <c:v>35584</c:v>
                </c:pt>
                <c:pt idx="56">
                  <c:v>36450</c:v>
                </c:pt>
                <c:pt idx="57">
                  <c:v>37491</c:v>
                </c:pt>
                <c:pt idx="58">
                  <c:v>38904</c:v>
                </c:pt>
                <c:pt idx="59">
                  <c:v>40563</c:v>
                </c:pt>
                <c:pt idx="60">
                  <c:v>42522</c:v>
                </c:pt>
                <c:pt idx="61">
                  <c:v>42835</c:v>
                </c:pt>
                <c:pt idx="62">
                  <c:v>42977</c:v>
                </c:pt>
                <c:pt idx="63">
                  <c:v>45626</c:v>
                </c:pt>
                <c:pt idx="64">
                  <c:v>50989</c:v>
                </c:pt>
                <c:pt idx="65">
                  <c:v>60111</c:v>
                </c:pt>
                <c:pt idx="66">
                  <c:v>72399</c:v>
                </c:pt>
                <c:pt idx="67">
                  <c:v>84377</c:v>
                </c:pt>
                <c:pt idx="68">
                  <c:v>89257</c:v>
                </c:pt>
                <c:pt idx="69">
                  <c:v>93886</c:v>
                </c:pt>
                <c:pt idx="70">
                  <c:v>107949</c:v>
                </c:pt>
                <c:pt idx="71">
                  <c:v>125412</c:v>
                </c:pt>
                <c:pt idx="72">
                  <c:v>148055</c:v>
                </c:pt>
                <c:pt idx="73">
                  <c:v>172943</c:v>
                </c:pt>
                <c:pt idx="74">
                  <c:v>195308</c:v>
                </c:pt>
                <c:pt idx="75">
                  <c:v>205793</c:v>
                </c:pt>
                <c:pt idx="76">
                  <c:v>213415</c:v>
                </c:pt>
                <c:pt idx="77">
                  <c:v>231189</c:v>
                </c:pt>
                <c:pt idx="78">
                  <c:v>253970</c:v>
                </c:pt>
                <c:pt idx="79">
                  <c:v>277209</c:v>
                </c:pt>
                <c:pt idx="80">
                  <c:v>300839</c:v>
                </c:pt>
                <c:pt idx="81">
                  <c:v>320532</c:v>
                </c:pt>
                <c:pt idx="82">
                  <c:v>329805</c:v>
                </c:pt>
                <c:pt idx="83">
                  <c:v>334655</c:v>
                </c:pt>
                <c:pt idx="84">
                  <c:v>350358</c:v>
                </c:pt>
                <c:pt idx="85">
                  <c:v>367902</c:v>
                </c:pt>
                <c:pt idx="86">
                  <c:v>386643</c:v>
                </c:pt>
                <c:pt idx="87">
                  <c:v>405107</c:v>
                </c:pt>
                <c:pt idx="88">
                  <c:v>421405</c:v>
                </c:pt>
                <c:pt idx="89">
                  <c:v>428439</c:v>
                </c:pt>
                <c:pt idx="90">
                  <c:v>432639</c:v>
                </c:pt>
                <c:pt idx="91">
                  <c:v>449657</c:v>
                </c:pt>
                <c:pt idx="92">
                  <c:v>470611</c:v>
                </c:pt>
                <c:pt idx="93">
                  <c:v>494020</c:v>
                </c:pt>
                <c:pt idx="94">
                  <c:v>521771</c:v>
                </c:pt>
                <c:pt idx="95">
                  <c:v>532082</c:v>
                </c:pt>
                <c:pt idx="96">
                  <c:v>539441</c:v>
                </c:pt>
                <c:pt idx="97">
                  <c:v>545244</c:v>
                </c:pt>
                <c:pt idx="98">
                  <c:v>550416</c:v>
                </c:pt>
                <c:pt idx="99">
                  <c:v>573361</c:v>
                </c:pt>
                <c:pt idx="100">
                  <c:v>596746</c:v>
                </c:pt>
                <c:pt idx="101">
                  <c:v>635444</c:v>
                </c:pt>
                <c:pt idx="102">
                  <c:v>670661</c:v>
                </c:pt>
                <c:pt idx="103">
                  <c:v>687904</c:v>
                </c:pt>
                <c:pt idx="104">
                  <c:v>699918</c:v>
                </c:pt>
                <c:pt idx="105">
                  <c:v>735308</c:v>
                </c:pt>
                <c:pt idx="106">
                  <c:v>768177</c:v>
                </c:pt>
                <c:pt idx="107">
                  <c:v>804282</c:v>
                </c:pt>
                <c:pt idx="108">
                  <c:v>839713</c:v>
                </c:pt>
                <c:pt idx="109">
                  <c:v>867608</c:v>
                </c:pt>
                <c:pt idx="110">
                  <c:v>877175</c:v>
                </c:pt>
                <c:pt idx="111">
                  <c:v>884813</c:v>
                </c:pt>
                <c:pt idx="112">
                  <c:v>905033</c:v>
                </c:pt>
                <c:pt idx="113">
                  <c:v>924482</c:v>
                </c:pt>
                <c:pt idx="114">
                  <c:v>941252</c:v>
                </c:pt>
                <c:pt idx="115">
                  <c:v>960335</c:v>
                </c:pt>
                <c:pt idx="116">
                  <c:v>974120</c:v>
                </c:pt>
                <c:pt idx="117">
                  <c:v>980045</c:v>
                </c:pt>
                <c:pt idx="118">
                  <c:v>983843</c:v>
                </c:pt>
                <c:pt idx="119">
                  <c:v>994360</c:v>
                </c:pt>
                <c:pt idx="120">
                  <c:v>1006931</c:v>
                </c:pt>
                <c:pt idx="121">
                  <c:v>1020398</c:v>
                </c:pt>
                <c:pt idx="122">
                  <c:v>1034622</c:v>
                </c:pt>
                <c:pt idx="123">
                  <c:v>1044175</c:v>
                </c:pt>
                <c:pt idx="124">
                  <c:v>1047660</c:v>
                </c:pt>
                <c:pt idx="125">
                  <c:v>1050140</c:v>
                </c:pt>
                <c:pt idx="126">
                  <c:v>1057508</c:v>
                </c:pt>
                <c:pt idx="127">
                  <c:v>1066924</c:v>
                </c:pt>
                <c:pt idx="128">
                  <c:v>1076991</c:v>
                </c:pt>
                <c:pt idx="129">
                  <c:v>1087527</c:v>
                </c:pt>
                <c:pt idx="130">
                  <c:v>1095508</c:v>
                </c:pt>
                <c:pt idx="131">
                  <c:v>1097853</c:v>
                </c:pt>
                <c:pt idx="132">
                  <c:v>1099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Osoby ve věku 60-69 celkem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3:$EE$3</c:f>
              <c:numCache>
                <c:formatCode>General</c:formatCode>
                <c:ptCount val="133"/>
                <c:pt idx="0">
                  <c:v>494</c:v>
                </c:pt>
                <c:pt idx="1">
                  <c:v>919</c:v>
                </c:pt>
                <c:pt idx="2">
                  <c:v>1379</c:v>
                </c:pt>
                <c:pt idx="3">
                  <c:v>1527</c:v>
                </c:pt>
                <c:pt idx="4">
                  <c:v>1562</c:v>
                </c:pt>
                <c:pt idx="5">
                  <c:v>1719</c:v>
                </c:pt>
                <c:pt idx="6">
                  <c:v>1824</c:v>
                </c:pt>
                <c:pt idx="7">
                  <c:v>2308</c:v>
                </c:pt>
                <c:pt idx="8">
                  <c:v>2871</c:v>
                </c:pt>
                <c:pt idx="9">
                  <c:v>3617</c:v>
                </c:pt>
                <c:pt idx="10">
                  <c:v>4658</c:v>
                </c:pt>
                <c:pt idx="11">
                  <c:v>5855</c:v>
                </c:pt>
                <c:pt idx="12">
                  <c:v>6182</c:v>
                </c:pt>
                <c:pt idx="13">
                  <c:v>6454</c:v>
                </c:pt>
                <c:pt idx="14">
                  <c:v>7709</c:v>
                </c:pt>
                <c:pt idx="15">
                  <c:v>9435</c:v>
                </c:pt>
                <c:pt idx="16">
                  <c:v>11160</c:v>
                </c:pt>
                <c:pt idx="17">
                  <c:v>13162</c:v>
                </c:pt>
                <c:pt idx="18">
                  <c:v>15091</c:v>
                </c:pt>
                <c:pt idx="19">
                  <c:v>15439</c:v>
                </c:pt>
                <c:pt idx="20">
                  <c:v>15692</c:v>
                </c:pt>
                <c:pt idx="21">
                  <c:v>17309</c:v>
                </c:pt>
                <c:pt idx="22">
                  <c:v>18944</c:v>
                </c:pt>
                <c:pt idx="23">
                  <c:v>20606</c:v>
                </c:pt>
                <c:pt idx="24">
                  <c:v>22041</c:v>
                </c:pt>
                <c:pt idx="25">
                  <c:v>23084</c:v>
                </c:pt>
                <c:pt idx="26">
                  <c:v>23337</c:v>
                </c:pt>
                <c:pt idx="27">
                  <c:v>23525</c:v>
                </c:pt>
                <c:pt idx="28">
                  <c:v>24491</c:v>
                </c:pt>
                <c:pt idx="29">
                  <c:v>25770</c:v>
                </c:pt>
                <c:pt idx="30">
                  <c:v>26885</c:v>
                </c:pt>
                <c:pt idx="31">
                  <c:v>28119</c:v>
                </c:pt>
                <c:pt idx="32">
                  <c:v>29508</c:v>
                </c:pt>
                <c:pt idx="33">
                  <c:v>29742</c:v>
                </c:pt>
                <c:pt idx="34">
                  <c:v>29956</c:v>
                </c:pt>
                <c:pt idx="35">
                  <c:v>31256</c:v>
                </c:pt>
                <c:pt idx="36">
                  <c:v>32887</c:v>
                </c:pt>
                <c:pt idx="37">
                  <c:v>34609</c:v>
                </c:pt>
                <c:pt idx="38">
                  <c:v>36586</c:v>
                </c:pt>
                <c:pt idx="39">
                  <c:v>38457</c:v>
                </c:pt>
                <c:pt idx="40">
                  <c:v>38714</c:v>
                </c:pt>
                <c:pt idx="41">
                  <c:v>38902</c:v>
                </c:pt>
                <c:pt idx="42">
                  <c:v>40431</c:v>
                </c:pt>
                <c:pt idx="43">
                  <c:v>41986</c:v>
                </c:pt>
                <c:pt idx="44">
                  <c:v>43655</c:v>
                </c:pt>
                <c:pt idx="45">
                  <c:v>45609</c:v>
                </c:pt>
                <c:pt idx="46">
                  <c:v>47280</c:v>
                </c:pt>
                <c:pt idx="47">
                  <c:v>47558</c:v>
                </c:pt>
                <c:pt idx="48">
                  <c:v>47678</c:v>
                </c:pt>
                <c:pt idx="49">
                  <c:v>48774</c:v>
                </c:pt>
                <c:pt idx="50">
                  <c:v>49970</c:v>
                </c:pt>
                <c:pt idx="51">
                  <c:v>51235</c:v>
                </c:pt>
                <c:pt idx="52">
                  <c:v>52845</c:v>
                </c:pt>
                <c:pt idx="53">
                  <c:v>54090</c:v>
                </c:pt>
                <c:pt idx="54">
                  <c:v>54257</c:v>
                </c:pt>
                <c:pt idx="55">
                  <c:v>54330</c:v>
                </c:pt>
                <c:pt idx="56">
                  <c:v>55339</c:v>
                </c:pt>
                <c:pt idx="57">
                  <c:v>56644</c:v>
                </c:pt>
                <c:pt idx="58">
                  <c:v>58179</c:v>
                </c:pt>
                <c:pt idx="59">
                  <c:v>59824</c:v>
                </c:pt>
                <c:pt idx="60">
                  <c:v>61487</c:v>
                </c:pt>
                <c:pt idx="61">
                  <c:v>61657</c:v>
                </c:pt>
                <c:pt idx="62">
                  <c:v>61847</c:v>
                </c:pt>
                <c:pt idx="63">
                  <c:v>64311</c:v>
                </c:pt>
                <c:pt idx="64">
                  <c:v>68465</c:v>
                </c:pt>
                <c:pt idx="65">
                  <c:v>72414</c:v>
                </c:pt>
                <c:pt idx="66">
                  <c:v>76680</c:v>
                </c:pt>
                <c:pt idx="67">
                  <c:v>79973</c:v>
                </c:pt>
                <c:pt idx="68">
                  <c:v>81361</c:v>
                </c:pt>
                <c:pt idx="69">
                  <c:v>82681</c:v>
                </c:pt>
                <c:pt idx="70">
                  <c:v>85701</c:v>
                </c:pt>
                <c:pt idx="71">
                  <c:v>89198</c:v>
                </c:pt>
                <c:pt idx="72">
                  <c:v>92602</c:v>
                </c:pt>
                <c:pt idx="73">
                  <c:v>96552</c:v>
                </c:pt>
                <c:pt idx="74">
                  <c:v>100112</c:v>
                </c:pt>
                <c:pt idx="75">
                  <c:v>101169</c:v>
                </c:pt>
                <c:pt idx="76">
                  <c:v>101869</c:v>
                </c:pt>
                <c:pt idx="77">
                  <c:v>104365</c:v>
                </c:pt>
                <c:pt idx="78">
                  <c:v>107848</c:v>
                </c:pt>
                <c:pt idx="79">
                  <c:v>111232</c:v>
                </c:pt>
                <c:pt idx="80">
                  <c:v>114628</c:v>
                </c:pt>
                <c:pt idx="81">
                  <c:v>118601</c:v>
                </c:pt>
                <c:pt idx="82">
                  <c:v>119489</c:v>
                </c:pt>
                <c:pt idx="83">
                  <c:v>119854</c:v>
                </c:pt>
                <c:pt idx="84">
                  <c:v>123245</c:v>
                </c:pt>
                <c:pt idx="85">
                  <c:v>126994</c:v>
                </c:pt>
                <c:pt idx="86">
                  <c:v>131465</c:v>
                </c:pt>
                <c:pt idx="87">
                  <c:v>135914</c:v>
                </c:pt>
                <c:pt idx="88">
                  <c:v>140496</c:v>
                </c:pt>
                <c:pt idx="89">
                  <c:v>141560</c:v>
                </c:pt>
                <c:pt idx="90">
                  <c:v>142639</c:v>
                </c:pt>
                <c:pt idx="91">
                  <c:v>147605</c:v>
                </c:pt>
                <c:pt idx="92">
                  <c:v>153191</c:v>
                </c:pt>
                <c:pt idx="93">
                  <c:v>158690</c:v>
                </c:pt>
                <c:pt idx="94">
                  <c:v>165005</c:v>
                </c:pt>
                <c:pt idx="95">
                  <c:v>166794</c:v>
                </c:pt>
                <c:pt idx="96">
                  <c:v>168116</c:v>
                </c:pt>
                <c:pt idx="97">
                  <c:v>168960</c:v>
                </c:pt>
                <c:pt idx="98">
                  <c:v>169758</c:v>
                </c:pt>
                <c:pt idx="99">
                  <c:v>174364</c:v>
                </c:pt>
                <c:pt idx="100">
                  <c:v>179507</c:v>
                </c:pt>
                <c:pt idx="101">
                  <c:v>187178</c:v>
                </c:pt>
                <c:pt idx="102">
                  <c:v>195337</c:v>
                </c:pt>
                <c:pt idx="103">
                  <c:v>198429</c:v>
                </c:pt>
                <c:pt idx="104">
                  <c:v>200177</c:v>
                </c:pt>
                <c:pt idx="105">
                  <c:v>208758</c:v>
                </c:pt>
                <c:pt idx="106">
                  <c:v>217180</c:v>
                </c:pt>
                <c:pt idx="107">
                  <c:v>227353</c:v>
                </c:pt>
                <c:pt idx="108">
                  <c:v>242112</c:v>
                </c:pt>
                <c:pt idx="109">
                  <c:v>256440</c:v>
                </c:pt>
                <c:pt idx="110">
                  <c:v>262295</c:v>
                </c:pt>
                <c:pt idx="111">
                  <c:v>265976</c:v>
                </c:pt>
                <c:pt idx="112">
                  <c:v>285371</c:v>
                </c:pt>
                <c:pt idx="113">
                  <c:v>305373</c:v>
                </c:pt>
                <c:pt idx="114">
                  <c:v>331432</c:v>
                </c:pt>
                <c:pt idx="115">
                  <c:v>362092</c:v>
                </c:pt>
                <c:pt idx="116">
                  <c:v>386804</c:v>
                </c:pt>
                <c:pt idx="117">
                  <c:v>396888</c:v>
                </c:pt>
                <c:pt idx="118">
                  <c:v>406309</c:v>
                </c:pt>
                <c:pt idx="119">
                  <c:v>438826</c:v>
                </c:pt>
                <c:pt idx="120">
                  <c:v>472137</c:v>
                </c:pt>
                <c:pt idx="121">
                  <c:v>512686</c:v>
                </c:pt>
                <c:pt idx="122">
                  <c:v>555772</c:v>
                </c:pt>
                <c:pt idx="123">
                  <c:v>592572</c:v>
                </c:pt>
                <c:pt idx="124">
                  <c:v>603113</c:v>
                </c:pt>
                <c:pt idx="125">
                  <c:v>613587</c:v>
                </c:pt>
                <c:pt idx="126">
                  <c:v>647656</c:v>
                </c:pt>
                <c:pt idx="127">
                  <c:v>677448</c:v>
                </c:pt>
                <c:pt idx="128">
                  <c:v>709292</c:v>
                </c:pt>
                <c:pt idx="129">
                  <c:v>739140</c:v>
                </c:pt>
                <c:pt idx="130">
                  <c:v>765120</c:v>
                </c:pt>
                <c:pt idx="131">
                  <c:v>773268</c:v>
                </c:pt>
                <c:pt idx="132">
                  <c:v>779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oby ve věku 80+ celkem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4:$EE$4</c:f>
              <c:numCache>
                <c:formatCode>General</c:formatCode>
                <c:ptCount val="133"/>
                <c:pt idx="0">
                  <c:v>124</c:v>
                </c:pt>
                <c:pt idx="1">
                  <c:v>404</c:v>
                </c:pt>
                <c:pt idx="2">
                  <c:v>598</c:v>
                </c:pt>
                <c:pt idx="3">
                  <c:v>716</c:v>
                </c:pt>
                <c:pt idx="4">
                  <c:v>719</c:v>
                </c:pt>
                <c:pt idx="5">
                  <c:v>731</c:v>
                </c:pt>
                <c:pt idx="6">
                  <c:v>734</c:v>
                </c:pt>
                <c:pt idx="7">
                  <c:v>764</c:v>
                </c:pt>
                <c:pt idx="8">
                  <c:v>805</c:v>
                </c:pt>
                <c:pt idx="9">
                  <c:v>872</c:v>
                </c:pt>
                <c:pt idx="10">
                  <c:v>1275</c:v>
                </c:pt>
                <c:pt idx="11">
                  <c:v>2134</c:v>
                </c:pt>
                <c:pt idx="12">
                  <c:v>2320</c:v>
                </c:pt>
                <c:pt idx="13">
                  <c:v>2427</c:v>
                </c:pt>
                <c:pt idx="14">
                  <c:v>3061</c:v>
                </c:pt>
                <c:pt idx="15">
                  <c:v>4718</c:v>
                </c:pt>
                <c:pt idx="16">
                  <c:v>6419</c:v>
                </c:pt>
                <c:pt idx="17">
                  <c:v>8705</c:v>
                </c:pt>
                <c:pt idx="18">
                  <c:v>10993</c:v>
                </c:pt>
                <c:pt idx="19">
                  <c:v>12501</c:v>
                </c:pt>
                <c:pt idx="20">
                  <c:v>14151</c:v>
                </c:pt>
                <c:pt idx="21">
                  <c:v>18854</c:v>
                </c:pt>
                <c:pt idx="22">
                  <c:v>24560</c:v>
                </c:pt>
                <c:pt idx="23">
                  <c:v>31089</c:v>
                </c:pt>
                <c:pt idx="24">
                  <c:v>39376</c:v>
                </c:pt>
                <c:pt idx="25">
                  <c:v>48304</c:v>
                </c:pt>
                <c:pt idx="26">
                  <c:v>50771</c:v>
                </c:pt>
                <c:pt idx="27">
                  <c:v>52606</c:v>
                </c:pt>
                <c:pt idx="28">
                  <c:v>58755</c:v>
                </c:pt>
                <c:pt idx="29">
                  <c:v>65116</c:v>
                </c:pt>
                <c:pt idx="30">
                  <c:v>70609</c:v>
                </c:pt>
                <c:pt idx="31">
                  <c:v>75247</c:v>
                </c:pt>
                <c:pt idx="32">
                  <c:v>79585</c:v>
                </c:pt>
                <c:pt idx="33">
                  <c:v>80213</c:v>
                </c:pt>
                <c:pt idx="34">
                  <c:v>80872</c:v>
                </c:pt>
                <c:pt idx="35">
                  <c:v>83805</c:v>
                </c:pt>
                <c:pt idx="36">
                  <c:v>87130</c:v>
                </c:pt>
                <c:pt idx="37">
                  <c:v>90723</c:v>
                </c:pt>
                <c:pt idx="38">
                  <c:v>95492</c:v>
                </c:pt>
                <c:pt idx="39">
                  <c:v>100235</c:v>
                </c:pt>
                <c:pt idx="40">
                  <c:v>102014</c:v>
                </c:pt>
                <c:pt idx="41">
                  <c:v>104119</c:v>
                </c:pt>
                <c:pt idx="42">
                  <c:v>110163</c:v>
                </c:pt>
                <c:pt idx="43">
                  <c:v>117687</c:v>
                </c:pt>
                <c:pt idx="44">
                  <c:v>126395</c:v>
                </c:pt>
                <c:pt idx="45">
                  <c:v>137561</c:v>
                </c:pt>
                <c:pt idx="46">
                  <c:v>148935</c:v>
                </c:pt>
                <c:pt idx="47">
                  <c:v>151833</c:v>
                </c:pt>
                <c:pt idx="48">
                  <c:v>153621</c:v>
                </c:pt>
                <c:pt idx="49">
                  <c:v>162501</c:v>
                </c:pt>
                <c:pt idx="50">
                  <c:v>173058</c:v>
                </c:pt>
                <c:pt idx="51">
                  <c:v>183175</c:v>
                </c:pt>
                <c:pt idx="52">
                  <c:v>194920</c:v>
                </c:pt>
                <c:pt idx="53">
                  <c:v>206010</c:v>
                </c:pt>
                <c:pt idx="54">
                  <c:v>208185</c:v>
                </c:pt>
                <c:pt idx="55">
                  <c:v>209811</c:v>
                </c:pt>
                <c:pt idx="56">
                  <c:v>219790</c:v>
                </c:pt>
                <c:pt idx="57">
                  <c:v>231723</c:v>
                </c:pt>
                <c:pt idx="58">
                  <c:v>242854</c:v>
                </c:pt>
                <c:pt idx="59">
                  <c:v>256136</c:v>
                </c:pt>
                <c:pt idx="60">
                  <c:v>267467</c:v>
                </c:pt>
                <c:pt idx="61">
                  <c:v>269676</c:v>
                </c:pt>
                <c:pt idx="62">
                  <c:v>271328</c:v>
                </c:pt>
                <c:pt idx="63">
                  <c:v>281202</c:v>
                </c:pt>
                <c:pt idx="64">
                  <c:v>290930</c:v>
                </c:pt>
                <c:pt idx="65">
                  <c:v>301116</c:v>
                </c:pt>
                <c:pt idx="66">
                  <c:v>311692</c:v>
                </c:pt>
                <c:pt idx="67">
                  <c:v>320315</c:v>
                </c:pt>
                <c:pt idx="68">
                  <c:v>322805</c:v>
                </c:pt>
                <c:pt idx="69">
                  <c:v>325015</c:v>
                </c:pt>
                <c:pt idx="70">
                  <c:v>332659</c:v>
                </c:pt>
                <c:pt idx="71">
                  <c:v>341954</c:v>
                </c:pt>
                <c:pt idx="72">
                  <c:v>351960</c:v>
                </c:pt>
                <c:pt idx="73">
                  <c:v>362443</c:v>
                </c:pt>
                <c:pt idx="74">
                  <c:v>370769</c:v>
                </c:pt>
                <c:pt idx="75">
                  <c:v>373106</c:v>
                </c:pt>
                <c:pt idx="76">
                  <c:v>374750</c:v>
                </c:pt>
                <c:pt idx="77">
                  <c:v>382205</c:v>
                </c:pt>
                <c:pt idx="78">
                  <c:v>392145</c:v>
                </c:pt>
                <c:pt idx="79">
                  <c:v>401598</c:v>
                </c:pt>
                <c:pt idx="80">
                  <c:v>412920</c:v>
                </c:pt>
                <c:pt idx="81">
                  <c:v>423748</c:v>
                </c:pt>
                <c:pt idx="82">
                  <c:v>426104</c:v>
                </c:pt>
                <c:pt idx="83">
                  <c:v>427712</c:v>
                </c:pt>
                <c:pt idx="84">
                  <c:v>435377</c:v>
                </c:pt>
                <c:pt idx="85">
                  <c:v>443200</c:v>
                </c:pt>
                <c:pt idx="86">
                  <c:v>451097</c:v>
                </c:pt>
                <c:pt idx="87">
                  <c:v>460781</c:v>
                </c:pt>
                <c:pt idx="88">
                  <c:v>468459</c:v>
                </c:pt>
                <c:pt idx="89">
                  <c:v>470298</c:v>
                </c:pt>
                <c:pt idx="90">
                  <c:v>471626</c:v>
                </c:pt>
                <c:pt idx="91">
                  <c:v>478089</c:v>
                </c:pt>
                <c:pt idx="92">
                  <c:v>484392</c:v>
                </c:pt>
                <c:pt idx="93">
                  <c:v>491289</c:v>
                </c:pt>
                <c:pt idx="94">
                  <c:v>498461</c:v>
                </c:pt>
                <c:pt idx="95">
                  <c:v>500492</c:v>
                </c:pt>
                <c:pt idx="96">
                  <c:v>501970</c:v>
                </c:pt>
                <c:pt idx="97">
                  <c:v>503299</c:v>
                </c:pt>
                <c:pt idx="98">
                  <c:v>504200</c:v>
                </c:pt>
                <c:pt idx="99">
                  <c:v>508543</c:v>
                </c:pt>
                <c:pt idx="100">
                  <c:v>512886</c:v>
                </c:pt>
                <c:pt idx="101">
                  <c:v>518904</c:v>
                </c:pt>
                <c:pt idx="102">
                  <c:v>523822</c:v>
                </c:pt>
                <c:pt idx="103">
                  <c:v>525587</c:v>
                </c:pt>
                <c:pt idx="104">
                  <c:v>526644</c:v>
                </c:pt>
                <c:pt idx="105">
                  <c:v>529999</c:v>
                </c:pt>
                <c:pt idx="106">
                  <c:v>533528</c:v>
                </c:pt>
                <c:pt idx="107">
                  <c:v>536894</c:v>
                </c:pt>
                <c:pt idx="108">
                  <c:v>540887</c:v>
                </c:pt>
                <c:pt idx="109">
                  <c:v>544159</c:v>
                </c:pt>
                <c:pt idx="110">
                  <c:v>544866</c:v>
                </c:pt>
                <c:pt idx="111">
                  <c:v>545401</c:v>
                </c:pt>
                <c:pt idx="112">
                  <c:v>547696</c:v>
                </c:pt>
                <c:pt idx="113">
                  <c:v>550081</c:v>
                </c:pt>
                <c:pt idx="114">
                  <c:v>552335</c:v>
                </c:pt>
                <c:pt idx="115">
                  <c:v>554892</c:v>
                </c:pt>
                <c:pt idx="116">
                  <c:v>556725</c:v>
                </c:pt>
                <c:pt idx="117">
                  <c:v>557283</c:v>
                </c:pt>
                <c:pt idx="118">
                  <c:v>557615</c:v>
                </c:pt>
                <c:pt idx="119">
                  <c:v>559093</c:v>
                </c:pt>
                <c:pt idx="120">
                  <c:v>560742</c:v>
                </c:pt>
                <c:pt idx="121">
                  <c:v>562670</c:v>
                </c:pt>
                <c:pt idx="122">
                  <c:v>564918</c:v>
                </c:pt>
                <c:pt idx="123">
                  <c:v>566318</c:v>
                </c:pt>
                <c:pt idx="124">
                  <c:v>566665</c:v>
                </c:pt>
                <c:pt idx="125">
                  <c:v>567008</c:v>
                </c:pt>
                <c:pt idx="126">
                  <c:v>568136</c:v>
                </c:pt>
                <c:pt idx="127">
                  <c:v>569855</c:v>
                </c:pt>
                <c:pt idx="128">
                  <c:v>571701</c:v>
                </c:pt>
                <c:pt idx="129">
                  <c:v>573902</c:v>
                </c:pt>
                <c:pt idx="130">
                  <c:v>575642</c:v>
                </c:pt>
                <c:pt idx="131">
                  <c:v>576003</c:v>
                </c:pt>
                <c:pt idx="132">
                  <c:v>576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Zdravotničtí pracovníci / ochrana veřejného zdraví celkem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5:$EE$5</c:f>
              <c:numCache>
                <c:formatCode>General</c:formatCode>
                <c:ptCount val="133"/>
                <c:pt idx="0">
                  <c:v>3089</c:v>
                </c:pt>
                <c:pt idx="1">
                  <c:v>5938</c:v>
                </c:pt>
                <c:pt idx="2">
                  <c:v>8824</c:v>
                </c:pt>
                <c:pt idx="3">
                  <c:v>9802</c:v>
                </c:pt>
                <c:pt idx="4">
                  <c:v>10047</c:v>
                </c:pt>
                <c:pt idx="5">
                  <c:v>11248</c:v>
                </c:pt>
                <c:pt idx="6">
                  <c:v>12117</c:v>
                </c:pt>
                <c:pt idx="7">
                  <c:v>15413</c:v>
                </c:pt>
                <c:pt idx="8">
                  <c:v>19590</c:v>
                </c:pt>
                <c:pt idx="9">
                  <c:v>24888</c:v>
                </c:pt>
                <c:pt idx="10">
                  <c:v>31355</c:v>
                </c:pt>
                <c:pt idx="11">
                  <c:v>38687</c:v>
                </c:pt>
                <c:pt idx="12">
                  <c:v>40007</c:v>
                </c:pt>
                <c:pt idx="13">
                  <c:v>41177</c:v>
                </c:pt>
                <c:pt idx="14">
                  <c:v>48525</c:v>
                </c:pt>
                <c:pt idx="15">
                  <c:v>57106</c:v>
                </c:pt>
                <c:pt idx="16">
                  <c:v>64613</c:v>
                </c:pt>
                <c:pt idx="17">
                  <c:v>72605</c:v>
                </c:pt>
                <c:pt idx="18">
                  <c:v>79564</c:v>
                </c:pt>
                <c:pt idx="19">
                  <c:v>80665</c:v>
                </c:pt>
                <c:pt idx="20">
                  <c:v>81877</c:v>
                </c:pt>
                <c:pt idx="21">
                  <c:v>88645</c:v>
                </c:pt>
                <c:pt idx="22">
                  <c:v>95145</c:v>
                </c:pt>
                <c:pt idx="23">
                  <c:v>101501</c:v>
                </c:pt>
                <c:pt idx="24">
                  <c:v>107102</c:v>
                </c:pt>
                <c:pt idx="25">
                  <c:v>111349</c:v>
                </c:pt>
                <c:pt idx="26">
                  <c:v>112729</c:v>
                </c:pt>
                <c:pt idx="27">
                  <c:v>113991</c:v>
                </c:pt>
                <c:pt idx="28">
                  <c:v>118894</c:v>
                </c:pt>
                <c:pt idx="29">
                  <c:v>124814</c:v>
                </c:pt>
                <c:pt idx="30">
                  <c:v>130881</c:v>
                </c:pt>
                <c:pt idx="31">
                  <c:v>137697</c:v>
                </c:pt>
                <c:pt idx="32">
                  <c:v>145333</c:v>
                </c:pt>
                <c:pt idx="33">
                  <c:v>146092</c:v>
                </c:pt>
                <c:pt idx="34">
                  <c:v>146844</c:v>
                </c:pt>
                <c:pt idx="35">
                  <c:v>153931</c:v>
                </c:pt>
                <c:pt idx="36">
                  <c:v>162152</c:v>
                </c:pt>
                <c:pt idx="37">
                  <c:v>169981</c:v>
                </c:pt>
                <c:pt idx="38">
                  <c:v>178557</c:v>
                </c:pt>
                <c:pt idx="39">
                  <c:v>186015</c:v>
                </c:pt>
                <c:pt idx="40">
                  <c:v>187027</c:v>
                </c:pt>
                <c:pt idx="41">
                  <c:v>187965</c:v>
                </c:pt>
                <c:pt idx="42">
                  <c:v>194290</c:v>
                </c:pt>
                <c:pt idx="43">
                  <c:v>199917</c:v>
                </c:pt>
                <c:pt idx="44">
                  <c:v>205422</c:v>
                </c:pt>
                <c:pt idx="45">
                  <c:v>211231</c:v>
                </c:pt>
                <c:pt idx="46">
                  <c:v>216647</c:v>
                </c:pt>
                <c:pt idx="47">
                  <c:v>217811</c:v>
                </c:pt>
                <c:pt idx="48">
                  <c:v>218340</c:v>
                </c:pt>
                <c:pt idx="49">
                  <c:v>222894</c:v>
                </c:pt>
                <c:pt idx="50">
                  <c:v>226717</c:v>
                </c:pt>
                <c:pt idx="51">
                  <c:v>230186</c:v>
                </c:pt>
                <c:pt idx="52">
                  <c:v>233960</c:v>
                </c:pt>
                <c:pt idx="53">
                  <c:v>238102</c:v>
                </c:pt>
                <c:pt idx="54">
                  <c:v>238719</c:v>
                </c:pt>
                <c:pt idx="55">
                  <c:v>238990</c:v>
                </c:pt>
                <c:pt idx="56">
                  <c:v>242095</c:v>
                </c:pt>
                <c:pt idx="57">
                  <c:v>246305</c:v>
                </c:pt>
                <c:pt idx="58">
                  <c:v>250359</c:v>
                </c:pt>
                <c:pt idx="59">
                  <c:v>255262</c:v>
                </c:pt>
                <c:pt idx="60">
                  <c:v>259741</c:v>
                </c:pt>
                <c:pt idx="61">
                  <c:v>260163</c:v>
                </c:pt>
                <c:pt idx="62">
                  <c:v>260472</c:v>
                </c:pt>
                <c:pt idx="63">
                  <c:v>264153</c:v>
                </c:pt>
                <c:pt idx="64">
                  <c:v>268313</c:v>
                </c:pt>
                <c:pt idx="65">
                  <c:v>272589</c:v>
                </c:pt>
                <c:pt idx="66">
                  <c:v>276276</c:v>
                </c:pt>
                <c:pt idx="67">
                  <c:v>280783</c:v>
                </c:pt>
                <c:pt idx="68">
                  <c:v>281648</c:v>
                </c:pt>
                <c:pt idx="69">
                  <c:v>282383</c:v>
                </c:pt>
                <c:pt idx="70">
                  <c:v>285723</c:v>
                </c:pt>
                <c:pt idx="71">
                  <c:v>289372</c:v>
                </c:pt>
                <c:pt idx="72">
                  <c:v>293462</c:v>
                </c:pt>
                <c:pt idx="73">
                  <c:v>298648</c:v>
                </c:pt>
                <c:pt idx="74">
                  <c:v>303677</c:v>
                </c:pt>
                <c:pt idx="75">
                  <c:v>304660</c:v>
                </c:pt>
                <c:pt idx="76">
                  <c:v>305652</c:v>
                </c:pt>
                <c:pt idx="77">
                  <c:v>309387</c:v>
                </c:pt>
                <c:pt idx="78">
                  <c:v>314054</c:v>
                </c:pt>
                <c:pt idx="79">
                  <c:v>318800</c:v>
                </c:pt>
                <c:pt idx="80">
                  <c:v>323568</c:v>
                </c:pt>
                <c:pt idx="81">
                  <c:v>329258</c:v>
                </c:pt>
                <c:pt idx="82">
                  <c:v>330742</c:v>
                </c:pt>
                <c:pt idx="83">
                  <c:v>331559</c:v>
                </c:pt>
                <c:pt idx="84">
                  <c:v>335269</c:v>
                </c:pt>
                <c:pt idx="85">
                  <c:v>339174</c:v>
                </c:pt>
                <c:pt idx="86">
                  <c:v>343004</c:v>
                </c:pt>
                <c:pt idx="87">
                  <c:v>347222</c:v>
                </c:pt>
                <c:pt idx="88">
                  <c:v>352105</c:v>
                </c:pt>
                <c:pt idx="89">
                  <c:v>353373</c:v>
                </c:pt>
                <c:pt idx="90">
                  <c:v>354213</c:v>
                </c:pt>
                <c:pt idx="91">
                  <c:v>357634</c:v>
                </c:pt>
                <c:pt idx="92">
                  <c:v>361477</c:v>
                </c:pt>
                <c:pt idx="93">
                  <c:v>365538</c:v>
                </c:pt>
                <c:pt idx="94">
                  <c:v>370058</c:v>
                </c:pt>
                <c:pt idx="95">
                  <c:v>371597</c:v>
                </c:pt>
                <c:pt idx="96">
                  <c:v>372773</c:v>
                </c:pt>
                <c:pt idx="97">
                  <c:v>373531</c:v>
                </c:pt>
                <c:pt idx="98">
                  <c:v>374187</c:v>
                </c:pt>
                <c:pt idx="99">
                  <c:v>378115</c:v>
                </c:pt>
                <c:pt idx="100">
                  <c:v>381258</c:v>
                </c:pt>
                <c:pt idx="101">
                  <c:v>385309</c:v>
                </c:pt>
                <c:pt idx="102">
                  <c:v>389822</c:v>
                </c:pt>
                <c:pt idx="103">
                  <c:v>391586</c:v>
                </c:pt>
                <c:pt idx="104">
                  <c:v>392677</c:v>
                </c:pt>
                <c:pt idx="105">
                  <c:v>395775</c:v>
                </c:pt>
                <c:pt idx="106">
                  <c:v>398978</c:v>
                </c:pt>
                <c:pt idx="107">
                  <c:v>402345</c:v>
                </c:pt>
                <c:pt idx="108">
                  <c:v>406116</c:v>
                </c:pt>
                <c:pt idx="109">
                  <c:v>410432</c:v>
                </c:pt>
                <c:pt idx="110">
                  <c:v>411623</c:v>
                </c:pt>
                <c:pt idx="111">
                  <c:v>412736</c:v>
                </c:pt>
                <c:pt idx="112">
                  <c:v>415473</c:v>
                </c:pt>
                <c:pt idx="113">
                  <c:v>418153</c:v>
                </c:pt>
                <c:pt idx="114">
                  <c:v>420728</c:v>
                </c:pt>
                <c:pt idx="115">
                  <c:v>423588</c:v>
                </c:pt>
                <c:pt idx="116">
                  <c:v>426377</c:v>
                </c:pt>
                <c:pt idx="117">
                  <c:v>427323</c:v>
                </c:pt>
                <c:pt idx="118">
                  <c:v>428171</c:v>
                </c:pt>
                <c:pt idx="119">
                  <c:v>430260</c:v>
                </c:pt>
                <c:pt idx="120">
                  <c:v>432419</c:v>
                </c:pt>
                <c:pt idx="121">
                  <c:v>435126</c:v>
                </c:pt>
                <c:pt idx="122">
                  <c:v>437763</c:v>
                </c:pt>
                <c:pt idx="123">
                  <c:v>440346</c:v>
                </c:pt>
                <c:pt idx="124">
                  <c:v>440835</c:v>
                </c:pt>
                <c:pt idx="125">
                  <c:v>441401</c:v>
                </c:pt>
                <c:pt idx="126">
                  <c:v>443445</c:v>
                </c:pt>
                <c:pt idx="127">
                  <c:v>445601</c:v>
                </c:pt>
                <c:pt idx="128">
                  <c:v>447952</c:v>
                </c:pt>
                <c:pt idx="129">
                  <c:v>450397</c:v>
                </c:pt>
                <c:pt idx="130">
                  <c:v>452624</c:v>
                </c:pt>
                <c:pt idx="131">
                  <c:v>453283</c:v>
                </c:pt>
                <c:pt idx="132">
                  <c:v>4537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Osoby ve věku 55-59 celkem</c:v>
                </c:pt>
              </c:strCache>
            </c:strRef>
          </c:tx>
          <c:spPr>
            <a:ln w="28575" cap="rnd">
              <a:solidFill>
                <a:srgbClr val="FFCC99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6:$EE$6</c:f>
              <c:numCache>
                <c:formatCode>General</c:formatCode>
                <c:ptCount val="133"/>
                <c:pt idx="0">
                  <c:v>310</c:v>
                </c:pt>
                <c:pt idx="1">
                  <c:v>644</c:v>
                </c:pt>
                <c:pt idx="2">
                  <c:v>1017</c:v>
                </c:pt>
                <c:pt idx="3">
                  <c:v>1130</c:v>
                </c:pt>
                <c:pt idx="4">
                  <c:v>1160</c:v>
                </c:pt>
                <c:pt idx="5">
                  <c:v>1287</c:v>
                </c:pt>
                <c:pt idx="6">
                  <c:v>1387</c:v>
                </c:pt>
                <c:pt idx="7">
                  <c:v>1809</c:v>
                </c:pt>
                <c:pt idx="8">
                  <c:v>2330</c:v>
                </c:pt>
                <c:pt idx="9">
                  <c:v>2982</c:v>
                </c:pt>
                <c:pt idx="10">
                  <c:v>3818</c:v>
                </c:pt>
                <c:pt idx="11">
                  <c:v>4829</c:v>
                </c:pt>
                <c:pt idx="12">
                  <c:v>5043</c:v>
                </c:pt>
                <c:pt idx="13">
                  <c:v>5229</c:v>
                </c:pt>
                <c:pt idx="14">
                  <c:v>6267</c:v>
                </c:pt>
                <c:pt idx="15">
                  <c:v>7532</c:v>
                </c:pt>
                <c:pt idx="16">
                  <c:v>8874</c:v>
                </c:pt>
                <c:pt idx="17">
                  <c:v>10362</c:v>
                </c:pt>
                <c:pt idx="18">
                  <c:v>11740</c:v>
                </c:pt>
                <c:pt idx="19">
                  <c:v>11929</c:v>
                </c:pt>
                <c:pt idx="20">
                  <c:v>12067</c:v>
                </c:pt>
                <c:pt idx="21">
                  <c:v>13097</c:v>
                </c:pt>
                <c:pt idx="22">
                  <c:v>14256</c:v>
                </c:pt>
                <c:pt idx="23">
                  <c:v>15428</c:v>
                </c:pt>
                <c:pt idx="24">
                  <c:v>16500</c:v>
                </c:pt>
                <c:pt idx="25">
                  <c:v>17348</c:v>
                </c:pt>
                <c:pt idx="26">
                  <c:v>17543</c:v>
                </c:pt>
                <c:pt idx="27">
                  <c:v>17676</c:v>
                </c:pt>
                <c:pt idx="28">
                  <c:v>18413</c:v>
                </c:pt>
                <c:pt idx="29">
                  <c:v>19387</c:v>
                </c:pt>
                <c:pt idx="30">
                  <c:v>20339</c:v>
                </c:pt>
                <c:pt idx="31">
                  <c:v>21267</c:v>
                </c:pt>
                <c:pt idx="32">
                  <c:v>22402</c:v>
                </c:pt>
                <c:pt idx="33">
                  <c:v>22548</c:v>
                </c:pt>
                <c:pt idx="34">
                  <c:v>22669</c:v>
                </c:pt>
                <c:pt idx="35">
                  <c:v>23639</c:v>
                </c:pt>
                <c:pt idx="36">
                  <c:v>24845</c:v>
                </c:pt>
                <c:pt idx="37">
                  <c:v>26207</c:v>
                </c:pt>
                <c:pt idx="38">
                  <c:v>27691</c:v>
                </c:pt>
                <c:pt idx="39">
                  <c:v>28990</c:v>
                </c:pt>
                <c:pt idx="40">
                  <c:v>29139</c:v>
                </c:pt>
                <c:pt idx="41">
                  <c:v>29281</c:v>
                </c:pt>
                <c:pt idx="42">
                  <c:v>30349</c:v>
                </c:pt>
                <c:pt idx="43">
                  <c:v>31452</c:v>
                </c:pt>
                <c:pt idx="44">
                  <c:v>32679</c:v>
                </c:pt>
                <c:pt idx="45">
                  <c:v>33921</c:v>
                </c:pt>
                <c:pt idx="46">
                  <c:v>35061</c:v>
                </c:pt>
                <c:pt idx="47">
                  <c:v>35253</c:v>
                </c:pt>
                <c:pt idx="48">
                  <c:v>35333</c:v>
                </c:pt>
                <c:pt idx="49">
                  <c:v>36050</c:v>
                </c:pt>
                <c:pt idx="50">
                  <c:v>36786</c:v>
                </c:pt>
                <c:pt idx="51">
                  <c:v>37680</c:v>
                </c:pt>
                <c:pt idx="52">
                  <c:v>38634</c:v>
                </c:pt>
                <c:pt idx="53">
                  <c:v>39522</c:v>
                </c:pt>
                <c:pt idx="54">
                  <c:v>39613</c:v>
                </c:pt>
                <c:pt idx="55">
                  <c:v>39657</c:v>
                </c:pt>
                <c:pt idx="56">
                  <c:v>40356</c:v>
                </c:pt>
                <c:pt idx="57">
                  <c:v>41169</c:v>
                </c:pt>
                <c:pt idx="58">
                  <c:v>42115</c:v>
                </c:pt>
                <c:pt idx="59">
                  <c:v>43170</c:v>
                </c:pt>
                <c:pt idx="60">
                  <c:v>44220</c:v>
                </c:pt>
                <c:pt idx="61">
                  <c:v>44330</c:v>
                </c:pt>
                <c:pt idx="62">
                  <c:v>44538</c:v>
                </c:pt>
                <c:pt idx="63">
                  <c:v>46184</c:v>
                </c:pt>
                <c:pt idx="64">
                  <c:v>49344</c:v>
                </c:pt>
                <c:pt idx="65">
                  <c:v>52005</c:v>
                </c:pt>
                <c:pt idx="66">
                  <c:v>54468</c:v>
                </c:pt>
                <c:pt idx="67">
                  <c:v>56685</c:v>
                </c:pt>
                <c:pt idx="68">
                  <c:v>57797</c:v>
                </c:pt>
                <c:pt idx="69">
                  <c:v>58691</c:v>
                </c:pt>
                <c:pt idx="70">
                  <c:v>60940</c:v>
                </c:pt>
                <c:pt idx="71">
                  <c:v>63393</c:v>
                </c:pt>
                <c:pt idx="72">
                  <c:v>65994</c:v>
                </c:pt>
                <c:pt idx="73">
                  <c:v>68634</c:v>
                </c:pt>
                <c:pt idx="74">
                  <c:v>70948</c:v>
                </c:pt>
                <c:pt idx="75">
                  <c:v>71901</c:v>
                </c:pt>
                <c:pt idx="76">
                  <c:v>72538</c:v>
                </c:pt>
                <c:pt idx="77">
                  <c:v>74134</c:v>
                </c:pt>
                <c:pt idx="78">
                  <c:v>76518</c:v>
                </c:pt>
                <c:pt idx="79">
                  <c:v>78748</c:v>
                </c:pt>
                <c:pt idx="80">
                  <c:v>80930</c:v>
                </c:pt>
                <c:pt idx="81">
                  <c:v>83392</c:v>
                </c:pt>
                <c:pt idx="82">
                  <c:v>84243</c:v>
                </c:pt>
                <c:pt idx="83">
                  <c:v>84583</c:v>
                </c:pt>
                <c:pt idx="84">
                  <c:v>86609</c:v>
                </c:pt>
                <c:pt idx="85">
                  <c:v>88831</c:v>
                </c:pt>
                <c:pt idx="86">
                  <c:v>91077</c:v>
                </c:pt>
                <c:pt idx="87">
                  <c:v>93270</c:v>
                </c:pt>
                <c:pt idx="88">
                  <c:v>95670</c:v>
                </c:pt>
                <c:pt idx="89">
                  <c:v>96455</c:v>
                </c:pt>
                <c:pt idx="90">
                  <c:v>97122</c:v>
                </c:pt>
                <c:pt idx="91">
                  <c:v>99475</c:v>
                </c:pt>
                <c:pt idx="92">
                  <c:v>102224</c:v>
                </c:pt>
                <c:pt idx="93">
                  <c:v>105093</c:v>
                </c:pt>
                <c:pt idx="94">
                  <c:v>108280</c:v>
                </c:pt>
                <c:pt idx="95">
                  <c:v>109398</c:v>
                </c:pt>
                <c:pt idx="96">
                  <c:v>110256</c:v>
                </c:pt>
                <c:pt idx="97">
                  <c:v>110956</c:v>
                </c:pt>
                <c:pt idx="98">
                  <c:v>111429</c:v>
                </c:pt>
                <c:pt idx="99">
                  <c:v>114165</c:v>
                </c:pt>
                <c:pt idx="100">
                  <c:v>116844</c:v>
                </c:pt>
                <c:pt idx="101">
                  <c:v>119874</c:v>
                </c:pt>
                <c:pt idx="102">
                  <c:v>123558</c:v>
                </c:pt>
                <c:pt idx="103">
                  <c:v>125040</c:v>
                </c:pt>
                <c:pt idx="104">
                  <c:v>125864</c:v>
                </c:pt>
                <c:pt idx="105">
                  <c:v>128888</c:v>
                </c:pt>
                <c:pt idx="106">
                  <c:v>131988</c:v>
                </c:pt>
                <c:pt idx="107">
                  <c:v>135044</c:v>
                </c:pt>
                <c:pt idx="108">
                  <c:v>138677</c:v>
                </c:pt>
                <c:pt idx="109">
                  <c:v>143027</c:v>
                </c:pt>
                <c:pt idx="110">
                  <c:v>144833</c:v>
                </c:pt>
                <c:pt idx="111">
                  <c:v>145763</c:v>
                </c:pt>
                <c:pt idx="112">
                  <c:v>148869</c:v>
                </c:pt>
                <c:pt idx="113">
                  <c:v>151971</c:v>
                </c:pt>
                <c:pt idx="114">
                  <c:v>155180</c:v>
                </c:pt>
                <c:pt idx="115">
                  <c:v>158977</c:v>
                </c:pt>
                <c:pt idx="116">
                  <c:v>162610</c:v>
                </c:pt>
                <c:pt idx="117">
                  <c:v>163533</c:v>
                </c:pt>
                <c:pt idx="118">
                  <c:v>164372</c:v>
                </c:pt>
                <c:pt idx="119">
                  <c:v>166624</c:v>
                </c:pt>
                <c:pt idx="120">
                  <c:v>169055</c:v>
                </c:pt>
                <c:pt idx="121">
                  <c:v>172193</c:v>
                </c:pt>
                <c:pt idx="122">
                  <c:v>178674</c:v>
                </c:pt>
                <c:pt idx="123">
                  <c:v>186850</c:v>
                </c:pt>
                <c:pt idx="124">
                  <c:v>191230</c:v>
                </c:pt>
                <c:pt idx="125">
                  <c:v>195528</c:v>
                </c:pt>
                <c:pt idx="126">
                  <c:v>213134</c:v>
                </c:pt>
                <c:pt idx="127">
                  <c:v>232746</c:v>
                </c:pt>
                <c:pt idx="128">
                  <c:v>254565</c:v>
                </c:pt>
                <c:pt idx="129">
                  <c:v>277149</c:v>
                </c:pt>
                <c:pt idx="130">
                  <c:v>298921</c:v>
                </c:pt>
                <c:pt idx="131">
                  <c:v>306370</c:v>
                </c:pt>
                <c:pt idx="132">
                  <c:v>3127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Ostatní</c:v>
                </c:pt>
              </c:strCache>
            </c:strRef>
          </c:tx>
          <c:spPr>
            <a:ln w="28575" cap="rnd">
              <a:solidFill>
                <a:srgbClr val="FFFFFF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7:$EE$7</c:f>
              <c:numCache>
                <c:formatCode>General</c:formatCode>
                <c:ptCount val="133"/>
                <c:pt idx="0">
                  <c:v>164</c:v>
                </c:pt>
                <c:pt idx="1">
                  <c:v>276</c:v>
                </c:pt>
                <c:pt idx="2">
                  <c:v>425</c:v>
                </c:pt>
                <c:pt idx="3">
                  <c:v>471</c:v>
                </c:pt>
                <c:pt idx="4">
                  <c:v>476</c:v>
                </c:pt>
                <c:pt idx="5">
                  <c:v>519</c:v>
                </c:pt>
                <c:pt idx="6">
                  <c:v>542</c:v>
                </c:pt>
                <c:pt idx="7">
                  <c:v>665</c:v>
                </c:pt>
                <c:pt idx="8">
                  <c:v>782</c:v>
                </c:pt>
                <c:pt idx="9">
                  <c:v>990</c:v>
                </c:pt>
                <c:pt idx="10">
                  <c:v>1401</c:v>
                </c:pt>
                <c:pt idx="11">
                  <c:v>1947</c:v>
                </c:pt>
                <c:pt idx="12">
                  <c:v>2097</c:v>
                </c:pt>
                <c:pt idx="13">
                  <c:v>2291</c:v>
                </c:pt>
                <c:pt idx="14">
                  <c:v>3219</c:v>
                </c:pt>
                <c:pt idx="15">
                  <c:v>4665</c:v>
                </c:pt>
                <c:pt idx="16">
                  <c:v>6211</c:v>
                </c:pt>
                <c:pt idx="17">
                  <c:v>7711</c:v>
                </c:pt>
                <c:pt idx="18">
                  <c:v>9061</c:v>
                </c:pt>
                <c:pt idx="19">
                  <c:v>9223</c:v>
                </c:pt>
                <c:pt idx="20">
                  <c:v>9335</c:v>
                </c:pt>
                <c:pt idx="21">
                  <c:v>9877</c:v>
                </c:pt>
                <c:pt idx="22">
                  <c:v>10337</c:v>
                </c:pt>
                <c:pt idx="23">
                  <c:v>10816</c:v>
                </c:pt>
                <c:pt idx="24">
                  <c:v>11265</c:v>
                </c:pt>
                <c:pt idx="25">
                  <c:v>11600</c:v>
                </c:pt>
                <c:pt idx="26">
                  <c:v>11688</c:v>
                </c:pt>
                <c:pt idx="27">
                  <c:v>11751</c:v>
                </c:pt>
                <c:pt idx="28">
                  <c:v>11970</c:v>
                </c:pt>
                <c:pt idx="29">
                  <c:v>12203</c:v>
                </c:pt>
                <c:pt idx="30">
                  <c:v>12469</c:v>
                </c:pt>
                <c:pt idx="31">
                  <c:v>12797</c:v>
                </c:pt>
                <c:pt idx="32">
                  <c:v>13311</c:v>
                </c:pt>
                <c:pt idx="33">
                  <c:v>13405</c:v>
                </c:pt>
                <c:pt idx="34">
                  <c:v>13601</c:v>
                </c:pt>
                <c:pt idx="35">
                  <c:v>14283</c:v>
                </c:pt>
                <c:pt idx="36">
                  <c:v>15452</c:v>
                </c:pt>
                <c:pt idx="37">
                  <c:v>16864</c:v>
                </c:pt>
                <c:pt idx="38">
                  <c:v>18382</c:v>
                </c:pt>
                <c:pt idx="39">
                  <c:v>19615</c:v>
                </c:pt>
                <c:pt idx="40">
                  <c:v>19797</c:v>
                </c:pt>
                <c:pt idx="41">
                  <c:v>19902</c:v>
                </c:pt>
                <c:pt idx="42">
                  <c:v>20566</c:v>
                </c:pt>
                <c:pt idx="43">
                  <c:v>21290</c:v>
                </c:pt>
                <c:pt idx="44">
                  <c:v>22050</c:v>
                </c:pt>
                <c:pt idx="45">
                  <c:v>22908</c:v>
                </c:pt>
                <c:pt idx="46">
                  <c:v>23508</c:v>
                </c:pt>
                <c:pt idx="47">
                  <c:v>23588</c:v>
                </c:pt>
                <c:pt idx="48">
                  <c:v>23628</c:v>
                </c:pt>
                <c:pt idx="49">
                  <c:v>24038</c:v>
                </c:pt>
                <c:pt idx="50">
                  <c:v>24368</c:v>
                </c:pt>
                <c:pt idx="51">
                  <c:v>24977</c:v>
                </c:pt>
                <c:pt idx="52">
                  <c:v>25667</c:v>
                </c:pt>
                <c:pt idx="53">
                  <c:v>26495</c:v>
                </c:pt>
                <c:pt idx="54">
                  <c:v>26615</c:v>
                </c:pt>
                <c:pt idx="55">
                  <c:v>26684</c:v>
                </c:pt>
                <c:pt idx="56">
                  <c:v>27406</c:v>
                </c:pt>
                <c:pt idx="57">
                  <c:v>28116</c:v>
                </c:pt>
                <c:pt idx="58">
                  <c:v>29151</c:v>
                </c:pt>
                <c:pt idx="59">
                  <c:v>30253</c:v>
                </c:pt>
                <c:pt idx="60">
                  <c:v>31594</c:v>
                </c:pt>
                <c:pt idx="61">
                  <c:v>31885</c:v>
                </c:pt>
                <c:pt idx="62">
                  <c:v>32240</c:v>
                </c:pt>
                <c:pt idx="63">
                  <c:v>33759</c:v>
                </c:pt>
                <c:pt idx="64">
                  <c:v>35713</c:v>
                </c:pt>
                <c:pt idx="65">
                  <c:v>37725</c:v>
                </c:pt>
                <c:pt idx="66">
                  <c:v>39413</c:v>
                </c:pt>
                <c:pt idx="67">
                  <c:v>40877</c:v>
                </c:pt>
                <c:pt idx="68">
                  <c:v>41720</c:v>
                </c:pt>
                <c:pt idx="69">
                  <c:v>42678</c:v>
                </c:pt>
                <c:pt idx="70">
                  <c:v>44457</c:v>
                </c:pt>
                <c:pt idx="71">
                  <c:v>46623</c:v>
                </c:pt>
                <c:pt idx="72">
                  <c:v>48390</c:v>
                </c:pt>
                <c:pt idx="73">
                  <c:v>50752</c:v>
                </c:pt>
                <c:pt idx="74">
                  <c:v>53065</c:v>
                </c:pt>
                <c:pt idx="75">
                  <c:v>53908</c:v>
                </c:pt>
                <c:pt idx="76">
                  <c:v>54712</c:v>
                </c:pt>
                <c:pt idx="77">
                  <c:v>56654</c:v>
                </c:pt>
                <c:pt idx="78">
                  <c:v>58751</c:v>
                </c:pt>
                <c:pt idx="79">
                  <c:v>60840</c:v>
                </c:pt>
                <c:pt idx="80">
                  <c:v>62779</c:v>
                </c:pt>
                <c:pt idx="81">
                  <c:v>65132</c:v>
                </c:pt>
                <c:pt idx="82">
                  <c:v>66026</c:v>
                </c:pt>
                <c:pt idx="83">
                  <c:v>66639</c:v>
                </c:pt>
                <c:pt idx="84">
                  <c:v>68229</c:v>
                </c:pt>
                <c:pt idx="85">
                  <c:v>70097</c:v>
                </c:pt>
                <c:pt idx="86">
                  <c:v>72499</c:v>
                </c:pt>
                <c:pt idx="87">
                  <c:v>74824</c:v>
                </c:pt>
                <c:pt idx="88">
                  <c:v>77274</c:v>
                </c:pt>
                <c:pt idx="89">
                  <c:v>77948</c:v>
                </c:pt>
                <c:pt idx="90">
                  <c:v>78350</c:v>
                </c:pt>
                <c:pt idx="91">
                  <c:v>80285</c:v>
                </c:pt>
                <c:pt idx="92">
                  <c:v>82805</c:v>
                </c:pt>
                <c:pt idx="93">
                  <c:v>85243</c:v>
                </c:pt>
                <c:pt idx="94">
                  <c:v>88815</c:v>
                </c:pt>
                <c:pt idx="95">
                  <c:v>90105</c:v>
                </c:pt>
                <c:pt idx="96">
                  <c:v>91520</c:v>
                </c:pt>
                <c:pt idx="97">
                  <c:v>92388</c:v>
                </c:pt>
                <c:pt idx="98">
                  <c:v>93423</c:v>
                </c:pt>
                <c:pt idx="99">
                  <c:v>96668</c:v>
                </c:pt>
                <c:pt idx="100">
                  <c:v>98771</c:v>
                </c:pt>
                <c:pt idx="101">
                  <c:v>102589</c:v>
                </c:pt>
                <c:pt idx="102">
                  <c:v>107904</c:v>
                </c:pt>
                <c:pt idx="103">
                  <c:v>109727</c:v>
                </c:pt>
                <c:pt idx="104">
                  <c:v>110827</c:v>
                </c:pt>
                <c:pt idx="105">
                  <c:v>113777</c:v>
                </c:pt>
                <c:pt idx="106">
                  <c:v>116867</c:v>
                </c:pt>
                <c:pt idx="107">
                  <c:v>119815</c:v>
                </c:pt>
                <c:pt idx="108">
                  <c:v>123496</c:v>
                </c:pt>
                <c:pt idx="109">
                  <c:v>127465</c:v>
                </c:pt>
                <c:pt idx="110">
                  <c:v>130035</c:v>
                </c:pt>
                <c:pt idx="111">
                  <c:v>131141</c:v>
                </c:pt>
                <c:pt idx="112">
                  <c:v>135038</c:v>
                </c:pt>
                <c:pt idx="113">
                  <c:v>138113</c:v>
                </c:pt>
                <c:pt idx="114">
                  <c:v>141319</c:v>
                </c:pt>
                <c:pt idx="115">
                  <c:v>145681</c:v>
                </c:pt>
                <c:pt idx="116">
                  <c:v>150530</c:v>
                </c:pt>
                <c:pt idx="117">
                  <c:v>152417</c:v>
                </c:pt>
                <c:pt idx="118">
                  <c:v>153314</c:v>
                </c:pt>
                <c:pt idx="119">
                  <c:v>155564</c:v>
                </c:pt>
                <c:pt idx="120">
                  <c:v>158019</c:v>
                </c:pt>
                <c:pt idx="121">
                  <c:v>161223</c:v>
                </c:pt>
                <c:pt idx="122">
                  <c:v>165925</c:v>
                </c:pt>
                <c:pt idx="123">
                  <c:v>171151</c:v>
                </c:pt>
                <c:pt idx="124">
                  <c:v>172460</c:v>
                </c:pt>
                <c:pt idx="125">
                  <c:v>173789</c:v>
                </c:pt>
                <c:pt idx="126">
                  <c:v>177962</c:v>
                </c:pt>
                <c:pt idx="127">
                  <c:v>182811</c:v>
                </c:pt>
                <c:pt idx="128">
                  <c:v>189158</c:v>
                </c:pt>
                <c:pt idx="129">
                  <c:v>202586</c:v>
                </c:pt>
                <c:pt idx="130">
                  <c:v>218788</c:v>
                </c:pt>
                <c:pt idx="131">
                  <c:v>227522</c:v>
                </c:pt>
                <c:pt idx="132">
                  <c:v>2347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Pracovníci a klienti v sociálních službách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8:$EE$8</c:f>
              <c:numCache>
                <c:formatCode>General</c:formatCode>
                <c:ptCount val="133"/>
                <c:pt idx="0">
                  <c:v>86</c:v>
                </c:pt>
                <c:pt idx="1">
                  <c:v>396</c:v>
                </c:pt>
                <c:pt idx="2">
                  <c:v>687</c:v>
                </c:pt>
                <c:pt idx="3">
                  <c:v>882</c:v>
                </c:pt>
                <c:pt idx="4">
                  <c:v>887</c:v>
                </c:pt>
                <c:pt idx="5">
                  <c:v>887</c:v>
                </c:pt>
                <c:pt idx="6">
                  <c:v>889</c:v>
                </c:pt>
                <c:pt idx="7">
                  <c:v>892</c:v>
                </c:pt>
                <c:pt idx="8">
                  <c:v>904</c:v>
                </c:pt>
                <c:pt idx="9">
                  <c:v>959</c:v>
                </c:pt>
                <c:pt idx="10">
                  <c:v>1574</c:v>
                </c:pt>
                <c:pt idx="11">
                  <c:v>3165</c:v>
                </c:pt>
                <c:pt idx="12">
                  <c:v>3469</c:v>
                </c:pt>
                <c:pt idx="13">
                  <c:v>3547</c:v>
                </c:pt>
                <c:pt idx="14">
                  <c:v>4463</c:v>
                </c:pt>
                <c:pt idx="15">
                  <c:v>6405</c:v>
                </c:pt>
                <c:pt idx="16">
                  <c:v>9276</c:v>
                </c:pt>
                <c:pt idx="17">
                  <c:v>13296</c:v>
                </c:pt>
                <c:pt idx="18">
                  <c:v>17141</c:v>
                </c:pt>
                <c:pt idx="19">
                  <c:v>17757</c:v>
                </c:pt>
                <c:pt idx="20">
                  <c:v>17999</c:v>
                </c:pt>
                <c:pt idx="21">
                  <c:v>20662</c:v>
                </c:pt>
                <c:pt idx="22">
                  <c:v>24187</c:v>
                </c:pt>
                <c:pt idx="23">
                  <c:v>28112</c:v>
                </c:pt>
                <c:pt idx="24">
                  <c:v>31901</c:v>
                </c:pt>
                <c:pt idx="25">
                  <c:v>34982</c:v>
                </c:pt>
                <c:pt idx="26">
                  <c:v>35592</c:v>
                </c:pt>
                <c:pt idx="27">
                  <c:v>35718</c:v>
                </c:pt>
                <c:pt idx="28">
                  <c:v>37639</c:v>
                </c:pt>
                <c:pt idx="29">
                  <c:v>40294</c:v>
                </c:pt>
                <c:pt idx="30">
                  <c:v>42669</c:v>
                </c:pt>
                <c:pt idx="31">
                  <c:v>44465</c:v>
                </c:pt>
                <c:pt idx="32">
                  <c:v>46309</c:v>
                </c:pt>
                <c:pt idx="33">
                  <c:v>46488</c:v>
                </c:pt>
                <c:pt idx="34">
                  <c:v>46551</c:v>
                </c:pt>
                <c:pt idx="35">
                  <c:v>47841</c:v>
                </c:pt>
                <c:pt idx="36">
                  <c:v>49509</c:v>
                </c:pt>
                <c:pt idx="37">
                  <c:v>51701</c:v>
                </c:pt>
                <c:pt idx="38">
                  <c:v>55056</c:v>
                </c:pt>
                <c:pt idx="39">
                  <c:v>58031</c:v>
                </c:pt>
                <c:pt idx="40">
                  <c:v>58073</c:v>
                </c:pt>
                <c:pt idx="41">
                  <c:v>58251</c:v>
                </c:pt>
                <c:pt idx="42">
                  <c:v>60981</c:v>
                </c:pt>
                <c:pt idx="43">
                  <c:v>64755</c:v>
                </c:pt>
                <c:pt idx="44">
                  <c:v>69565</c:v>
                </c:pt>
                <c:pt idx="45">
                  <c:v>75008</c:v>
                </c:pt>
                <c:pt idx="46">
                  <c:v>80029</c:v>
                </c:pt>
                <c:pt idx="47">
                  <c:v>80742</c:v>
                </c:pt>
                <c:pt idx="48">
                  <c:v>80875</c:v>
                </c:pt>
                <c:pt idx="49">
                  <c:v>83192</c:v>
                </c:pt>
                <c:pt idx="50">
                  <c:v>87388</c:v>
                </c:pt>
                <c:pt idx="51">
                  <c:v>92014</c:v>
                </c:pt>
                <c:pt idx="52">
                  <c:v>96589</c:v>
                </c:pt>
                <c:pt idx="53">
                  <c:v>100241</c:v>
                </c:pt>
                <c:pt idx="54">
                  <c:v>100403</c:v>
                </c:pt>
                <c:pt idx="55">
                  <c:v>100406</c:v>
                </c:pt>
                <c:pt idx="56">
                  <c:v>102902</c:v>
                </c:pt>
                <c:pt idx="57">
                  <c:v>105854</c:v>
                </c:pt>
                <c:pt idx="58">
                  <c:v>109163</c:v>
                </c:pt>
                <c:pt idx="59">
                  <c:v>113411</c:v>
                </c:pt>
                <c:pt idx="60">
                  <c:v>116890</c:v>
                </c:pt>
                <c:pt idx="61">
                  <c:v>117057</c:v>
                </c:pt>
                <c:pt idx="62">
                  <c:v>117162</c:v>
                </c:pt>
                <c:pt idx="63">
                  <c:v>118846</c:v>
                </c:pt>
                <c:pt idx="64">
                  <c:v>120960</c:v>
                </c:pt>
                <c:pt idx="65">
                  <c:v>124091</c:v>
                </c:pt>
                <c:pt idx="66">
                  <c:v>127010</c:v>
                </c:pt>
                <c:pt idx="67">
                  <c:v>130042</c:v>
                </c:pt>
                <c:pt idx="68">
                  <c:v>130463</c:v>
                </c:pt>
                <c:pt idx="69">
                  <c:v>130763</c:v>
                </c:pt>
                <c:pt idx="70">
                  <c:v>131952</c:v>
                </c:pt>
                <c:pt idx="71">
                  <c:v>134437</c:v>
                </c:pt>
                <c:pt idx="72">
                  <c:v>137744</c:v>
                </c:pt>
                <c:pt idx="73">
                  <c:v>141518</c:v>
                </c:pt>
                <c:pt idx="74">
                  <c:v>144656</c:v>
                </c:pt>
                <c:pt idx="75">
                  <c:v>145081</c:v>
                </c:pt>
                <c:pt idx="76">
                  <c:v>145191</c:v>
                </c:pt>
                <c:pt idx="77">
                  <c:v>147518</c:v>
                </c:pt>
                <c:pt idx="78">
                  <c:v>150613</c:v>
                </c:pt>
                <c:pt idx="79">
                  <c:v>153086</c:v>
                </c:pt>
                <c:pt idx="80">
                  <c:v>155748</c:v>
                </c:pt>
                <c:pt idx="81">
                  <c:v>158643</c:v>
                </c:pt>
                <c:pt idx="82">
                  <c:v>158699</c:v>
                </c:pt>
                <c:pt idx="83">
                  <c:v>158715</c:v>
                </c:pt>
                <c:pt idx="84">
                  <c:v>159764</c:v>
                </c:pt>
                <c:pt idx="85">
                  <c:v>161344</c:v>
                </c:pt>
                <c:pt idx="86">
                  <c:v>163591</c:v>
                </c:pt>
                <c:pt idx="87">
                  <c:v>165781</c:v>
                </c:pt>
                <c:pt idx="88">
                  <c:v>168381</c:v>
                </c:pt>
                <c:pt idx="89">
                  <c:v>168596</c:v>
                </c:pt>
                <c:pt idx="90">
                  <c:v>168762</c:v>
                </c:pt>
                <c:pt idx="91">
                  <c:v>169731</c:v>
                </c:pt>
                <c:pt idx="92">
                  <c:v>171194</c:v>
                </c:pt>
                <c:pt idx="93">
                  <c:v>173431</c:v>
                </c:pt>
                <c:pt idx="94">
                  <c:v>175842</c:v>
                </c:pt>
                <c:pt idx="95">
                  <c:v>176109</c:v>
                </c:pt>
                <c:pt idx="96">
                  <c:v>176259</c:v>
                </c:pt>
                <c:pt idx="97">
                  <c:v>176304</c:v>
                </c:pt>
                <c:pt idx="98">
                  <c:v>176336</c:v>
                </c:pt>
                <c:pt idx="99">
                  <c:v>178071</c:v>
                </c:pt>
                <c:pt idx="100">
                  <c:v>179816</c:v>
                </c:pt>
                <c:pt idx="101">
                  <c:v>182404</c:v>
                </c:pt>
                <c:pt idx="102">
                  <c:v>184157</c:v>
                </c:pt>
                <c:pt idx="103">
                  <c:v>184276</c:v>
                </c:pt>
                <c:pt idx="104">
                  <c:v>184388</c:v>
                </c:pt>
                <c:pt idx="105">
                  <c:v>185250</c:v>
                </c:pt>
                <c:pt idx="106">
                  <c:v>186912</c:v>
                </c:pt>
                <c:pt idx="107">
                  <c:v>188318</c:v>
                </c:pt>
                <c:pt idx="108">
                  <c:v>190415</c:v>
                </c:pt>
                <c:pt idx="109">
                  <c:v>193669</c:v>
                </c:pt>
                <c:pt idx="110">
                  <c:v>194038</c:v>
                </c:pt>
                <c:pt idx="111">
                  <c:v>194274</c:v>
                </c:pt>
                <c:pt idx="112">
                  <c:v>195652</c:v>
                </c:pt>
                <c:pt idx="113">
                  <c:v>197034</c:v>
                </c:pt>
                <c:pt idx="114">
                  <c:v>198687</c:v>
                </c:pt>
                <c:pt idx="115">
                  <c:v>200920</c:v>
                </c:pt>
                <c:pt idx="116">
                  <c:v>202868</c:v>
                </c:pt>
                <c:pt idx="117">
                  <c:v>203259</c:v>
                </c:pt>
                <c:pt idx="118">
                  <c:v>203907</c:v>
                </c:pt>
                <c:pt idx="119">
                  <c:v>204803</c:v>
                </c:pt>
                <c:pt idx="120">
                  <c:v>206006</c:v>
                </c:pt>
                <c:pt idx="121">
                  <c:v>207119</c:v>
                </c:pt>
                <c:pt idx="122">
                  <c:v>208198</c:v>
                </c:pt>
                <c:pt idx="123">
                  <c:v>209159</c:v>
                </c:pt>
                <c:pt idx="124">
                  <c:v>209255</c:v>
                </c:pt>
                <c:pt idx="125">
                  <c:v>209366</c:v>
                </c:pt>
                <c:pt idx="126">
                  <c:v>209906</c:v>
                </c:pt>
                <c:pt idx="127">
                  <c:v>210828</c:v>
                </c:pt>
                <c:pt idx="128">
                  <c:v>211418</c:v>
                </c:pt>
                <c:pt idx="129">
                  <c:v>213002</c:v>
                </c:pt>
                <c:pt idx="130">
                  <c:v>213957</c:v>
                </c:pt>
                <c:pt idx="131">
                  <c:v>214313</c:v>
                </c:pt>
                <c:pt idx="132">
                  <c:v>214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Pracovníci ve školství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9:$EE$9</c:f>
              <c:numCache>
                <c:formatCode>General</c:formatCode>
                <c:ptCount val="13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5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1</c:v>
                </c:pt>
                <c:pt idx="51">
                  <c:v>11</c:v>
                </c:pt>
                <c:pt idx="52">
                  <c:v>12</c:v>
                </c:pt>
                <c:pt idx="53">
                  <c:v>17</c:v>
                </c:pt>
                <c:pt idx="54">
                  <c:v>18</c:v>
                </c:pt>
                <c:pt idx="55">
                  <c:v>18</c:v>
                </c:pt>
                <c:pt idx="56">
                  <c:v>18</c:v>
                </c:pt>
                <c:pt idx="57">
                  <c:v>20</c:v>
                </c:pt>
                <c:pt idx="58">
                  <c:v>22</c:v>
                </c:pt>
                <c:pt idx="59">
                  <c:v>51</c:v>
                </c:pt>
                <c:pt idx="60">
                  <c:v>90</c:v>
                </c:pt>
                <c:pt idx="61">
                  <c:v>114</c:v>
                </c:pt>
                <c:pt idx="62">
                  <c:v>196</c:v>
                </c:pt>
                <c:pt idx="63">
                  <c:v>1789</c:v>
                </c:pt>
                <c:pt idx="64">
                  <c:v>4487</c:v>
                </c:pt>
                <c:pt idx="65">
                  <c:v>7338</c:v>
                </c:pt>
                <c:pt idx="66">
                  <c:v>10337</c:v>
                </c:pt>
                <c:pt idx="67">
                  <c:v>12716</c:v>
                </c:pt>
                <c:pt idx="68">
                  <c:v>13883</c:v>
                </c:pt>
                <c:pt idx="69">
                  <c:v>15292</c:v>
                </c:pt>
                <c:pt idx="70">
                  <c:v>18069</c:v>
                </c:pt>
                <c:pt idx="71">
                  <c:v>21827</c:v>
                </c:pt>
                <c:pt idx="72">
                  <c:v>24826</c:v>
                </c:pt>
                <c:pt idx="73">
                  <c:v>27924</c:v>
                </c:pt>
                <c:pt idx="74">
                  <c:v>30666</c:v>
                </c:pt>
                <c:pt idx="75">
                  <c:v>32340</c:v>
                </c:pt>
                <c:pt idx="76">
                  <c:v>33425</c:v>
                </c:pt>
                <c:pt idx="77">
                  <c:v>35311</c:v>
                </c:pt>
                <c:pt idx="78">
                  <c:v>38889</c:v>
                </c:pt>
                <c:pt idx="79">
                  <c:v>41513</c:v>
                </c:pt>
                <c:pt idx="80">
                  <c:v>44054</c:v>
                </c:pt>
                <c:pt idx="81">
                  <c:v>46951</c:v>
                </c:pt>
                <c:pt idx="82">
                  <c:v>48449</c:v>
                </c:pt>
                <c:pt idx="83">
                  <c:v>48914</c:v>
                </c:pt>
                <c:pt idx="84">
                  <c:v>51738</c:v>
                </c:pt>
                <c:pt idx="85">
                  <c:v>54203</c:v>
                </c:pt>
                <c:pt idx="86">
                  <c:v>56671</c:v>
                </c:pt>
                <c:pt idx="87">
                  <c:v>59156</c:v>
                </c:pt>
                <c:pt idx="88">
                  <c:v>62683</c:v>
                </c:pt>
                <c:pt idx="89">
                  <c:v>63383</c:v>
                </c:pt>
                <c:pt idx="90">
                  <c:v>64197</c:v>
                </c:pt>
                <c:pt idx="91">
                  <c:v>67469</c:v>
                </c:pt>
                <c:pt idx="92">
                  <c:v>71921</c:v>
                </c:pt>
                <c:pt idx="93">
                  <c:v>75703</c:v>
                </c:pt>
                <c:pt idx="94">
                  <c:v>79770</c:v>
                </c:pt>
                <c:pt idx="95">
                  <c:v>81191</c:v>
                </c:pt>
                <c:pt idx="96">
                  <c:v>82220</c:v>
                </c:pt>
                <c:pt idx="97">
                  <c:v>83283</c:v>
                </c:pt>
                <c:pt idx="98">
                  <c:v>83793</c:v>
                </c:pt>
                <c:pt idx="99">
                  <c:v>86826</c:v>
                </c:pt>
                <c:pt idx="100">
                  <c:v>90634</c:v>
                </c:pt>
                <c:pt idx="101">
                  <c:v>94538</c:v>
                </c:pt>
                <c:pt idx="102">
                  <c:v>100014</c:v>
                </c:pt>
                <c:pt idx="103">
                  <c:v>103228</c:v>
                </c:pt>
                <c:pt idx="104">
                  <c:v>105070</c:v>
                </c:pt>
                <c:pt idx="105">
                  <c:v>109857</c:v>
                </c:pt>
                <c:pt idx="106">
                  <c:v>115425</c:v>
                </c:pt>
                <c:pt idx="107">
                  <c:v>120108</c:v>
                </c:pt>
                <c:pt idx="108">
                  <c:v>125018</c:v>
                </c:pt>
                <c:pt idx="109">
                  <c:v>132953</c:v>
                </c:pt>
                <c:pt idx="110">
                  <c:v>136021</c:v>
                </c:pt>
                <c:pt idx="111">
                  <c:v>138578</c:v>
                </c:pt>
                <c:pt idx="112">
                  <c:v>142447</c:v>
                </c:pt>
                <c:pt idx="113">
                  <c:v>146404</c:v>
                </c:pt>
                <c:pt idx="114">
                  <c:v>149873</c:v>
                </c:pt>
                <c:pt idx="115">
                  <c:v>153292</c:v>
                </c:pt>
                <c:pt idx="116">
                  <c:v>158288</c:v>
                </c:pt>
                <c:pt idx="117">
                  <c:v>159227</c:v>
                </c:pt>
                <c:pt idx="118">
                  <c:v>160067</c:v>
                </c:pt>
                <c:pt idx="119">
                  <c:v>162030</c:v>
                </c:pt>
                <c:pt idx="120">
                  <c:v>164546</c:v>
                </c:pt>
                <c:pt idx="121">
                  <c:v>167118</c:v>
                </c:pt>
                <c:pt idx="122">
                  <c:v>169530</c:v>
                </c:pt>
                <c:pt idx="123">
                  <c:v>171926</c:v>
                </c:pt>
                <c:pt idx="124">
                  <c:v>172688</c:v>
                </c:pt>
                <c:pt idx="125">
                  <c:v>173332</c:v>
                </c:pt>
                <c:pt idx="126">
                  <c:v>174653</c:v>
                </c:pt>
                <c:pt idx="127">
                  <c:v>176322</c:v>
                </c:pt>
                <c:pt idx="128">
                  <c:v>178446</c:v>
                </c:pt>
                <c:pt idx="129">
                  <c:v>180566</c:v>
                </c:pt>
                <c:pt idx="130">
                  <c:v>183222</c:v>
                </c:pt>
                <c:pt idx="131">
                  <c:v>184396</c:v>
                </c:pt>
                <c:pt idx="132">
                  <c:v>185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5EC-49F1-A7E9-EC500512EC3B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Chronicky nemocní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C$1:$EE$1</c:f>
              <c:strCache>
                <c:ptCount val="133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</c:strCache>
            </c:strRef>
          </c:cat>
          <c:val>
            <c:numRef>
              <c:f>List1!$C$10:$EE$10</c:f>
              <c:numCache>
                <c:formatCode>General</c:formatCode>
                <c:ptCount val="13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10</c:v>
                </c:pt>
                <c:pt idx="25">
                  <c:v>11</c:v>
                </c:pt>
                <c:pt idx="26">
                  <c:v>11</c:v>
                </c:pt>
                <c:pt idx="27">
                  <c:v>11</c:v>
                </c:pt>
                <c:pt idx="28">
                  <c:v>11</c:v>
                </c:pt>
                <c:pt idx="29">
                  <c:v>11</c:v>
                </c:pt>
                <c:pt idx="30">
                  <c:v>11</c:v>
                </c:pt>
                <c:pt idx="31">
                  <c:v>12</c:v>
                </c:pt>
                <c:pt idx="32">
                  <c:v>12</c:v>
                </c:pt>
                <c:pt idx="33">
                  <c:v>12</c:v>
                </c:pt>
                <c:pt idx="34">
                  <c:v>12</c:v>
                </c:pt>
                <c:pt idx="35">
                  <c:v>12</c:v>
                </c:pt>
                <c:pt idx="36">
                  <c:v>12</c:v>
                </c:pt>
                <c:pt idx="37">
                  <c:v>12</c:v>
                </c:pt>
                <c:pt idx="38">
                  <c:v>12</c:v>
                </c:pt>
                <c:pt idx="39">
                  <c:v>13</c:v>
                </c:pt>
                <c:pt idx="40">
                  <c:v>13</c:v>
                </c:pt>
                <c:pt idx="41">
                  <c:v>13</c:v>
                </c:pt>
                <c:pt idx="42">
                  <c:v>14</c:v>
                </c:pt>
                <c:pt idx="43">
                  <c:v>14</c:v>
                </c:pt>
                <c:pt idx="44">
                  <c:v>14</c:v>
                </c:pt>
                <c:pt idx="45">
                  <c:v>14</c:v>
                </c:pt>
                <c:pt idx="46">
                  <c:v>15</c:v>
                </c:pt>
                <c:pt idx="47">
                  <c:v>15</c:v>
                </c:pt>
                <c:pt idx="48">
                  <c:v>16</c:v>
                </c:pt>
                <c:pt idx="49">
                  <c:v>18</c:v>
                </c:pt>
                <c:pt idx="50">
                  <c:v>18</c:v>
                </c:pt>
                <c:pt idx="51">
                  <c:v>18</c:v>
                </c:pt>
                <c:pt idx="52">
                  <c:v>21</c:v>
                </c:pt>
                <c:pt idx="53">
                  <c:v>26</c:v>
                </c:pt>
                <c:pt idx="54">
                  <c:v>26</c:v>
                </c:pt>
                <c:pt idx="55">
                  <c:v>26</c:v>
                </c:pt>
                <c:pt idx="56">
                  <c:v>31</c:v>
                </c:pt>
                <c:pt idx="57">
                  <c:v>33</c:v>
                </c:pt>
                <c:pt idx="58">
                  <c:v>36</c:v>
                </c:pt>
                <c:pt idx="59">
                  <c:v>45</c:v>
                </c:pt>
                <c:pt idx="60">
                  <c:v>53</c:v>
                </c:pt>
                <c:pt idx="61">
                  <c:v>54</c:v>
                </c:pt>
                <c:pt idx="62">
                  <c:v>54</c:v>
                </c:pt>
                <c:pt idx="63">
                  <c:v>63</c:v>
                </c:pt>
                <c:pt idx="64">
                  <c:v>69</c:v>
                </c:pt>
                <c:pt idx="65">
                  <c:v>135</c:v>
                </c:pt>
                <c:pt idx="66">
                  <c:v>247</c:v>
                </c:pt>
                <c:pt idx="67">
                  <c:v>345</c:v>
                </c:pt>
                <c:pt idx="68">
                  <c:v>471</c:v>
                </c:pt>
                <c:pt idx="69">
                  <c:v>619</c:v>
                </c:pt>
                <c:pt idx="70">
                  <c:v>734</c:v>
                </c:pt>
                <c:pt idx="71">
                  <c:v>932</c:v>
                </c:pt>
                <c:pt idx="72">
                  <c:v>1129</c:v>
                </c:pt>
                <c:pt idx="73">
                  <c:v>1378</c:v>
                </c:pt>
                <c:pt idx="74">
                  <c:v>1730</c:v>
                </c:pt>
                <c:pt idx="75">
                  <c:v>1827</c:v>
                </c:pt>
                <c:pt idx="76">
                  <c:v>1859</c:v>
                </c:pt>
                <c:pt idx="77">
                  <c:v>2161</c:v>
                </c:pt>
                <c:pt idx="78">
                  <c:v>2510</c:v>
                </c:pt>
                <c:pt idx="79">
                  <c:v>2854</c:v>
                </c:pt>
                <c:pt idx="80">
                  <c:v>3272</c:v>
                </c:pt>
                <c:pt idx="81">
                  <c:v>3746</c:v>
                </c:pt>
                <c:pt idx="82">
                  <c:v>3922</c:v>
                </c:pt>
                <c:pt idx="83">
                  <c:v>3958</c:v>
                </c:pt>
                <c:pt idx="84">
                  <c:v>4355</c:v>
                </c:pt>
                <c:pt idx="85">
                  <c:v>4837</c:v>
                </c:pt>
                <c:pt idx="86">
                  <c:v>5442</c:v>
                </c:pt>
                <c:pt idx="87">
                  <c:v>6081</c:v>
                </c:pt>
                <c:pt idx="88">
                  <c:v>6815</c:v>
                </c:pt>
                <c:pt idx="89">
                  <c:v>6977</c:v>
                </c:pt>
                <c:pt idx="90">
                  <c:v>7483</c:v>
                </c:pt>
                <c:pt idx="91">
                  <c:v>8139</c:v>
                </c:pt>
                <c:pt idx="92">
                  <c:v>8896</c:v>
                </c:pt>
                <c:pt idx="93">
                  <c:v>9770</c:v>
                </c:pt>
                <c:pt idx="94">
                  <c:v>10705</c:v>
                </c:pt>
                <c:pt idx="95">
                  <c:v>10938</c:v>
                </c:pt>
                <c:pt idx="96">
                  <c:v>11058</c:v>
                </c:pt>
                <c:pt idx="97">
                  <c:v>11126</c:v>
                </c:pt>
                <c:pt idx="98">
                  <c:v>11175</c:v>
                </c:pt>
                <c:pt idx="99">
                  <c:v>11768</c:v>
                </c:pt>
                <c:pt idx="100">
                  <c:v>12681</c:v>
                </c:pt>
                <c:pt idx="101">
                  <c:v>14083</c:v>
                </c:pt>
                <c:pt idx="102">
                  <c:v>15643</c:v>
                </c:pt>
                <c:pt idx="103">
                  <c:v>16266</c:v>
                </c:pt>
                <c:pt idx="104">
                  <c:v>16586</c:v>
                </c:pt>
                <c:pt idx="105">
                  <c:v>18266</c:v>
                </c:pt>
                <c:pt idx="106">
                  <c:v>20172</c:v>
                </c:pt>
                <c:pt idx="107">
                  <c:v>22287</c:v>
                </c:pt>
                <c:pt idx="108">
                  <c:v>25055</c:v>
                </c:pt>
                <c:pt idx="109">
                  <c:v>28250</c:v>
                </c:pt>
                <c:pt idx="110">
                  <c:v>29124</c:v>
                </c:pt>
                <c:pt idx="111">
                  <c:v>29609</c:v>
                </c:pt>
                <c:pt idx="112">
                  <c:v>33117</c:v>
                </c:pt>
                <c:pt idx="113">
                  <c:v>36266</c:v>
                </c:pt>
                <c:pt idx="114">
                  <c:v>40085</c:v>
                </c:pt>
                <c:pt idx="115">
                  <c:v>44315</c:v>
                </c:pt>
                <c:pt idx="116">
                  <c:v>48639</c:v>
                </c:pt>
                <c:pt idx="117">
                  <c:v>50230</c:v>
                </c:pt>
                <c:pt idx="118">
                  <c:v>51705</c:v>
                </c:pt>
                <c:pt idx="119">
                  <c:v>55038</c:v>
                </c:pt>
                <c:pt idx="120">
                  <c:v>57946</c:v>
                </c:pt>
                <c:pt idx="121">
                  <c:v>61600</c:v>
                </c:pt>
                <c:pt idx="122">
                  <c:v>65300</c:v>
                </c:pt>
                <c:pt idx="123">
                  <c:v>69247</c:v>
                </c:pt>
                <c:pt idx="124">
                  <c:v>70478</c:v>
                </c:pt>
                <c:pt idx="125">
                  <c:v>71403</c:v>
                </c:pt>
                <c:pt idx="126">
                  <c:v>74572</c:v>
                </c:pt>
                <c:pt idx="127">
                  <c:v>77848</c:v>
                </c:pt>
                <c:pt idx="128">
                  <c:v>81142</c:v>
                </c:pt>
                <c:pt idx="129">
                  <c:v>84657</c:v>
                </c:pt>
                <c:pt idx="130">
                  <c:v>88596</c:v>
                </c:pt>
                <c:pt idx="131">
                  <c:v>89976</c:v>
                </c:pt>
                <c:pt idx="132">
                  <c:v>909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AEE-424B-AB7A-978FCB1BA3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2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751763523924262"/>
          <c:y val="3.9417173565038655E-2"/>
          <c:w val="0.27248236476075743"/>
          <c:h val="0.857755051010631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17553847713110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4.2679751582317191E-4"/>
                  <c:y val="-4.662556641343844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2.01.21</c:v>
                </c:pt>
                <c:pt idx="1">
                  <c:v>03.01.21</c:v>
                </c:pt>
                <c:pt idx="2">
                  <c:v>04.01.21</c:v>
                </c:pt>
                <c:pt idx="3">
                  <c:v>05.01.21</c:v>
                </c:pt>
                <c:pt idx="4">
                  <c:v>06.01.21</c:v>
                </c:pt>
                <c:pt idx="5">
                  <c:v>07.01.21</c:v>
                </c:pt>
                <c:pt idx="6">
                  <c:v>08.01.21</c:v>
                </c:pt>
                <c:pt idx="7">
                  <c:v>09.01.21</c:v>
                </c:pt>
                <c:pt idx="8">
                  <c:v>10.01.21</c:v>
                </c:pt>
                <c:pt idx="9">
                  <c:v>11.01.21</c:v>
                </c:pt>
                <c:pt idx="10">
                  <c:v>12.01.21</c:v>
                </c:pt>
                <c:pt idx="11">
                  <c:v>13.01.21</c:v>
                </c:pt>
                <c:pt idx="12">
                  <c:v>14.01.21</c:v>
                </c:pt>
                <c:pt idx="13">
                  <c:v>15.01.21</c:v>
                </c:pt>
                <c:pt idx="14">
                  <c:v>16.01.21</c:v>
                </c:pt>
                <c:pt idx="15">
                  <c:v>17.01.21</c:v>
                </c:pt>
                <c:pt idx="16">
                  <c:v>18.01.21</c:v>
                </c:pt>
                <c:pt idx="17">
                  <c:v>19.01.21</c:v>
                </c:pt>
                <c:pt idx="18">
                  <c:v>20.01.21</c:v>
                </c:pt>
                <c:pt idx="19">
                  <c:v>21.01.21</c:v>
                </c:pt>
                <c:pt idx="20">
                  <c:v>22.01.21</c:v>
                </c:pt>
                <c:pt idx="21">
                  <c:v>23.01.21</c:v>
                </c:pt>
                <c:pt idx="22">
                  <c:v>24.01.21</c:v>
                </c:pt>
                <c:pt idx="23">
                  <c:v>25.01.21</c:v>
                </c:pt>
                <c:pt idx="24">
                  <c:v>26.01.21</c:v>
                </c:pt>
                <c:pt idx="25">
                  <c:v>27.01.21</c:v>
                </c:pt>
                <c:pt idx="26">
                  <c:v>28.01.21</c:v>
                </c:pt>
                <c:pt idx="27">
                  <c:v>29.01.21</c:v>
                </c:pt>
                <c:pt idx="28">
                  <c:v>30.01.21</c:v>
                </c:pt>
                <c:pt idx="29">
                  <c:v>31.01.21</c:v>
                </c:pt>
                <c:pt idx="30">
                  <c:v>01.02.21</c:v>
                </c:pt>
                <c:pt idx="31">
                  <c:v>02.02.21</c:v>
                </c:pt>
                <c:pt idx="32">
                  <c:v>03.02.21</c:v>
                </c:pt>
                <c:pt idx="33">
                  <c:v>04.02.21</c:v>
                </c:pt>
                <c:pt idx="34">
                  <c:v>05.02.21</c:v>
                </c:pt>
                <c:pt idx="35">
                  <c:v>06.02.21</c:v>
                </c:pt>
                <c:pt idx="36">
                  <c:v>07.02.21</c:v>
                </c:pt>
                <c:pt idx="37">
                  <c:v>08.02.21</c:v>
                </c:pt>
                <c:pt idx="38">
                  <c:v>09.02.21</c:v>
                </c:pt>
                <c:pt idx="39">
                  <c:v>10.02.21</c:v>
                </c:pt>
                <c:pt idx="40">
                  <c:v>11.02.21</c:v>
                </c:pt>
                <c:pt idx="41">
                  <c:v>12.02.21</c:v>
                </c:pt>
                <c:pt idx="42">
                  <c:v>13.02.21</c:v>
                </c:pt>
                <c:pt idx="43">
                  <c:v>14.02.21</c:v>
                </c:pt>
                <c:pt idx="44">
                  <c:v>15.02.21</c:v>
                </c:pt>
                <c:pt idx="45">
                  <c:v>16.02.21</c:v>
                </c:pt>
                <c:pt idx="46">
                  <c:v>17.02.21</c:v>
                </c:pt>
                <c:pt idx="47">
                  <c:v>18.02.21</c:v>
                </c:pt>
                <c:pt idx="48">
                  <c:v>19.02.21</c:v>
                </c:pt>
                <c:pt idx="49">
                  <c:v>20.02.21</c:v>
                </c:pt>
                <c:pt idx="50">
                  <c:v>21.02.21</c:v>
                </c:pt>
                <c:pt idx="51">
                  <c:v>22.02.21</c:v>
                </c:pt>
                <c:pt idx="52">
                  <c:v>23.02.21</c:v>
                </c:pt>
                <c:pt idx="53">
                  <c:v>24.02.21</c:v>
                </c:pt>
                <c:pt idx="54">
                  <c:v>25.02.21</c:v>
                </c:pt>
                <c:pt idx="55">
                  <c:v>26.02.21</c:v>
                </c:pt>
                <c:pt idx="56">
                  <c:v>27.02.21</c:v>
                </c:pt>
                <c:pt idx="57">
                  <c:v>28.02.21</c:v>
                </c:pt>
                <c:pt idx="58">
                  <c:v>01.03.21</c:v>
                </c:pt>
                <c:pt idx="59">
                  <c:v>02.03.21</c:v>
                </c:pt>
                <c:pt idx="60">
                  <c:v>03.03.21</c:v>
                </c:pt>
                <c:pt idx="61">
                  <c:v>04.03.21</c:v>
                </c:pt>
                <c:pt idx="62">
                  <c:v>05.03.21</c:v>
                </c:pt>
                <c:pt idx="63">
                  <c:v>06.03.21</c:v>
                </c:pt>
                <c:pt idx="64">
                  <c:v>07.03.21</c:v>
                </c:pt>
                <c:pt idx="65">
                  <c:v>08.03.21</c:v>
                </c:pt>
                <c:pt idx="66">
                  <c:v>09.03.21</c:v>
                </c:pt>
                <c:pt idx="67">
                  <c:v>10.03.21</c:v>
                </c:pt>
                <c:pt idx="68">
                  <c:v>11.03.21</c:v>
                </c:pt>
                <c:pt idx="69">
                  <c:v>12.03.21</c:v>
                </c:pt>
                <c:pt idx="70">
                  <c:v>13.03.21</c:v>
                </c:pt>
                <c:pt idx="71">
                  <c:v>14.03.21</c:v>
                </c:pt>
                <c:pt idx="72">
                  <c:v>15.03.21</c:v>
                </c:pt>
                <c:pt idx="73">
                  <c:v>16.03.21</c:v>
                </c:pt>
                <c:pt idx="74">
                  <c:v>17.03.21</c:v>
                </c:pt>
                <c:pt idx="75">
                  <c:v>18.03.21</c:v>
                </c:pt>
                <c:pt idx="76">
                  <c:v>19.03.21</c:v>
                </c:pt>
                <c:pt idx="77">
                  <c:v>20.03.21</c:v>
                </c:pt>
                <c:pt idx="78">
                  <c:v>21.03.21</c:v>
                </c:pt>
                <c:pt idx="79">
                  <c:v>22.03.21</c:v>
                </c:pt>
                <c:pt idx="80">
                  <c:v>23.03.21</c:v>
                </c:pt>
                <c:pt idx="81">
                  <c:v>24.03.21</c:v>
                </c:pt>
                <c:pt idx="82">
                  <c:v>25.03.21</c:v>
                </c:pt>
                <c:pt idx="83">
                  <c:v>26.03.21</c:v>
                </c:pt>
                <c:pt idx="84">
                  <c:v>27.03.21</c:v>
                </c:pt>
                <c:pt idx="85">
                  <c:v>28.03.21</c:v>
                </c:pt>
                <c:pt idx="86">
                  <c:v>29.03.21</c:v>
                </c:pt>
                <c:pt idx="87">
                  <c:v>30.03.21</c:v>
                </c:pt>
                <c:pt idx="88">
                  <c:v>31.03.21</c:v>
                </c:pt>
                <c:pt idx="89">
                  <c:v>01.04.21</c:v>
                </c:pt>
                <c:pt idx="90">
                  <c:v>02.04.21</c:v>
                </c:pt>
                <c:pt idx="91">
                  <c:v>03.04.21</c:v>
                </c:pt>
                <c:pt idx="92">
                  <c:v>04.04.21</c:v>
                </c:pt>
                <c:pt idx="93">
                  <c:v>05.04.21</c:v>
                </c:pt>
                <c:pt idx="94">
                  <c:v>06.04.21</c:v>
                </c:pt>
                <c:pt idx="95">
                  <c:v>07.04.21</c:v>
                </c:pt>
                <c:pt idx="96">
                  <c:v>08.04.21</c:v>
                </c:pt>
                <c:pt idx="97">
                  <c:v>09.04.21</c:v>
                </c:pt>
                <c:pt idx="98">
                  <c:v>10.04.21</c:v>
                </c:pt>
                <c:pt idx="99">
                  <c:v>11.04.21</c:v>
                </c:pt>
                <c:pt idx="100">
                  <c:v>12.04.21</c:v>
                </c:pt>
                <c:pt idx="101">
                  <c:v>13.04.21</c:v>
                </c:pt>
                <c:pt idx="102">
                  <c:v>14.04.21</c:v>
                </c:pt>
                <c:pt idx="103">
                  <c:v>15.04.21</c:v>
                </c:pt>
                <c:pt idx="104">
                  <c:v>16.04.21</c:v>
                </c:pt>
                <c:pt idx="105">
                  <c:v>17.04.21</c:v>
                </c:pt>
                <c:pt idx="106">
                  <c:v>18.04.21</c:v>
                </c:pt>
                <c:pt idx="107">
                  <c:v>19.04.21</c:v>
                </c:pt>
                <c:pt idx="108">
                  <c:v>20.04.21</c:v>
                </c:pt>
                <c:pt idx="109">
                  <c:v>21.04.21</c:v>
                </c:pt>
                <c:pt idx="110">
                  <c:v>22.04.21</c:v>
                </c:pt>
                <c:pt idx="111">
                  <c:v>23.04.21</c:v>
                </c:pt>
                <c:pt idx="112">
                  <c:v>24.04.21</c:v>
                </c:pt>
                <c:pt idx="113">
                  <c:v>25.04.21</c:v>
                </c:pt>
                <c:pt idx="114">
                  <c:v>26.04.21</c:v>
                </c:pt>
                <c:pt idx="115">
                  <c:v>27.04.21</c:v>
                </c:pt>
                <c:pt idx="116">
                  <c:v>28.04.21</c:v>
                </c:pt>
                <c:pt idx="117">
                  <c:v>29.04.21</c:v>
                </c:pt>
                <c:pt idx="118">
                  <c:v>30.04.21</c:v>
                </c:pt>
                <c:pt idx="119">
                  <c:v>01.05.21</c:v>
                </c:pt>
                <c:pt idx="120">
                  <c:v>02.05.21</c:v>
                </c:pt>
                <c:pt idx="121">
                  <c:v>03.05.21</c:v>
                </c:pt>
                <c:pt idx="122">
                  <c:v>04.05.21</c:v>
                </c:pt>
                <c:pt idx="123">
                  <c:v>05.05.21</c:v>
                </c:pt>
                <c:pt idx="124">
                  <c:v>06.05.21</c:v>
                </c:pt>
                <c:pt idx="125">
                  <c:v>07.05.21</c:v>
                </c:pt>
                <c:pt idx="126">
                  <c:v>08.05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48</c:v>
                </c:pt>
                <c:pt idx="1">
                  <c:v>74</c:v>
                </c:pt>
                <c:pt idx="2">
                  <c:v>164</c:v>
                </c:pt>
                <c:pt idx="3">
                  <c:v>129</c:v>
                </c:pt>
                <c:pt idx="4">
                  <c:v>97</c:v>
                </c:pt>
                <c:pt idx="5">
                  <c:v>83</c:v>
                </c:pt>
                <c:pt idx="6">
                  <c:v>82</c:v>
                </c:pt>
                <c:pt idx="7">
                  <c:v>49</c:v>
                </c:pt>
                <c:pt idx="8">
                  <c:v>34</c:v>
                </c:pt>
                <c:pt idx="9">
                  <c:v>79</c:v>
                </c:pt>
                <c:pt idx="10">
                  <c:v>74</c:v>
                </c:pt>
                <c:pt idx="11">
                  <c:v>75</c:v>
                </c:pt>
                <c:pt idx="12">
                  <c:v>55</c:v>
                </c:pt>
                <c:pt idx="13">
                  <c:v>70</c:v>
                </c:pt>
                <c:pt idx="14">
                  <c:v>43</c:v>
                </c:pt>
                <c:pt idx="15">
                  <c:v>21</c:v>
                </c:pt>
                <c:pt idx="16">
                  <c:v>79</c:v>
                </c:pt>
                <c:pt idx="17">
                  <c:v>54</c:v>
                </c:pt>
                <c:pt idx="18">
                  <c:v>54</c:v>
                </c:pt>
                <c:pt idx="19">
                  <c:v>49</c:v>
                </c:pt>
                <c:pt idx="20">
                  <c:v>67</c:v>
                </c:pt>
                <c:pt idx="21">
                  <c:v>29</c:v>
                </c:pt>
                <c:pt idx="22">
                  <c:v>9</c:v>
                </c:pt>
                <c:pt idx="23">
                  <c:v>41</c:v>
                </c:pt>
                <c:pt idx="24">
                  <c:v>46</c:v>
                </c:pt>
                <c:pt idx="25">
                  <c:v>42</c:v>
                </c:pt>
                <c:pt idx="26">
                  <c:v>43</c:v>
                </c:pt>
                <c:pt idx="27">
                  <c:v>35</c:v>
                </c:pt>
                <c:pt idx="28">
                  <c:v>19</c:v>
                </c:pt>
                <c:pt idx="29">
                  <c:v>23</c:v>
                </c:pt>
                <c:pt idx="30">
                  <c:v>40</c:v>
                </c:pt>
                <c:pt idx="31">
                  <c:v>33</c:v>
                </c:pt>
                <c:pt idx="32">
                  <c:v>27</c:v>
                </c:pt>
                <c:pt idx="33">
                  <c:v>40</c:v>
                </c:pt>
                <c:pt idx="34">
                  <c:v>26</c:v>
                </c:pt>
                <c:pt idx="35">
                  <c:v>16</c:v>
                </c:pt>
                <c:pt idx="36">
                  <c:v>14</c:v>
                </c:pt>
                <c:pt idx="37">
                  <c:v>19</c:v>
                </c:pt>
                <c:pt idx="38">
                  <c:v>24</c:v>
                </c:pt>
                <c:pt idx="39">
                  <c:v>30</c:v>
                </c:pt>
                <c:pt idx="40">
                  <c:v>25</c:v>
                </c:pt>
                <c:pt idx="41">
                  <c:v>29</c:v>
                </c:pt>
                <c:pt idx="42">
                  <c:v>12</c:v>
                </c:pt>
                <c:pt idx="43">
                  <c:v>7</c:v>
                </c:pt>
                <c:pt idx="44">
                  <c:v>23</c:v>
                </c:pt>
                <c:pt idx="45">
                  <c:v>33</c:v>
                </c:pt>
                <c:pt idx="46">
                  <c:v>13</c:v>
                </c:pt>
                <c:pt idx="47">
                  <c:v>26</c:v>
                </c:pt>
                <c:pt idx="48">
                  <c:v>23</c:v>
                </c:pt>
                <c:pt idx="49">
                  <c:v>15</c:v>
                </c:pt>
                <c:pt idx="50">
                  <c:v>8</c:v>
                </c:pt>
                <c:pt idx="51">
                  <c:v>32</c:v>
                </c:pt>
                <c:pt idx="52">
                  <c:v>29</c:v>
                </c:pt>
                <c:pt idx="53">
                  <c:v>25</c:v>
                </c:pt>
                <c:pt idx="54">
                  <c:v>37</c:v>
                </c:pt>
                <c:pt idx="55">
                  <c:v>35</c:v>
                </c:pt>
                <c:pt idx="56">
                  <c:v>23</c:v>
                </c:pt>
                <c:pt idx="57">
                  <c:v>19</c:v>
                </c:pt>
                <c:pt idx="58">
                  <c:v>30</c:v>
                </c:pt>
                <c:pt idx="59">
                  <c:v>41</c:v>
                </c:pt>
                <c:pt idx="60">
                  <c:v>37</c:v>
                </c:pt>
                <c:pt idx="61">
                  <c:v>20</c:v>
                </c:pt>
                <c:pt idx="62">
                  <c:v>25</c:v>
                </c:pt>
                <c:pt idx="63">
                  <c:v>10</c:v>
                </c:pt>
                <c:pt idx="64">
                  <c:v>10</c:v>
                </c:pt>
                <c:pt idx="65">
                  <c:v>23</c:v>
                </c:pt>
                <c:pt idx="66">
                  <c:v>21</c:v>
                </c:pt>
                <c:pt idx="67">
                  <c:v>21</c:v>
                </c:pt>
                <c:pt idx="68">
                  <c:v>7</c:v>
                </c:pt>
                <c:pt idx="69">
                  <c:v>17</c:v>
                </c:pt>
                <c:pt idx="70">
                  <c:v>11</c:v>
                </c:pt>
                <c:pt idx="71">
                  <c:v>7</c:v>
                </c:pt>
                <c:pt idx="72">
                  <c:v>23</c:v>
                </c:pt>
                <c:pt idx="73">
                  <c:v>29</c:v>
                </c:pt>
                <c:pt idx="74">
                  <c:v>12</c:v>
                </c:pt>
                <c:pt idx="75">
                  <c:v>16</c:v>
                </c:pt>
                <c:pt idx="76">
                  <c:v>11</c:v>
                </c:pt>
                <c:pt idx="77">
                  <c:v>7</c:v>
                </c:pt>
                <c:pt idx="78">
                  <c:v>6</c:v>
                </c:pt>
                <c:pt idx="79">
                  <c:v>9</c:v>
                </c:pt>
                <c:pt idx="80">
                  <c:v>18</c:v>
                </c:pt>
                <c:pt idx="81">
                  <c:v>9</c:v>
                </c:pt>
                <c:pt idx="82">
                  <c:v>10</c:v>
                </c:pt>
                <c:pt idx="83">
                  <c:v>11</c:v>
                </c:pt>
                <c:pt idx="84">
                  <c:v>9</c:v>
                </c:pt>
                <c:pt idx="85">
                  <c:v>0</c:v>
                </c:pt>
                <c:pt idx="86">
                  <c:v>13</c:v>
                </c:pt>
                <c:pt idx="87">
                  <c:v>9</c:v>
                </c:pt>
                <c:pt idx="88">
                  <c:v>7</c:v>
                </c:pt>
                <c:pt idx="89">
                  <c:v>6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5</c:v>
                </c:pt>
                <c:pt idx="94">
                  <c:v>10</c:v>
                </c:pt>
                <c:pt idx="95">
                  <c:v>3</c:v>
                </c:pt>
                <c:pt idx="96">
                  <c:v>5</c:v>
                </c:pt>
                <c:pt idx="97">
                  <c:v>4</c:v>
                </c:pt>
                <c:pt idx="98">
                  <c:v>2</c:v>
                </c:pt>
                <c:pt idx="99">
                  <c:v>2</c:v>
                </c:pt>
                <c:pt idx="100">
                  <c:v>4</c:v>
                </c:pt>
                <c:pt idx="101">
                  <c:v>3</c:v>
                </c:pt>
                <c:pt idx="102">
                  <c:v>9</c:v>
                </c:pt>
                <c:pt idx="103">
                  <c:v>3</c:v>
                </c:pt>
                <c:pt idx="104">
                  <c:v>4</c:v>
                </c:pt>
                <c:pt idx="105">
                  <c:v>3</c:v>
                </c:pt>
                <c:pt idx="106">
                  <c:v>3</c:v>
                </c:pt>
                <c:pt idx="107">
                  <c:v>6</c:v>
                </c:pt>
                <c:pt idx="108">
                  <c:v>4</c:v>
                </c:pt>
                <c:pt idx="109">
                  <c:v>8</c:v>
                </c:pt>
                <c:pt idx="110">
                  <c:v>2</c:v>
                </c:pt>
                <c:pt idx="111">
                  <c:v>6</c:v>
                </c:pt>
                <c:pt idx="112">
                  <c:v>1</c:v>
                </c:pt>
                <c:pt idx="113">
                  <c:v>1</c:v>
                </c:pt>
                <c:pt idx="114">
                  <c:v>2</c:v>
                </c:pt>
                <c:pt idx="115">
                  <c:v>3</c:v>
                </c:pt>
                <c:pt idx="116">
                  <c:v>7</c:v>
                </c:pt>
                <c:pt idx="117">
                  <c:v>6</c:v>
                </c:pt>
                <c:pt idx="118">
                  <c:v>4</c:v>
                </c:pt>
                <c:pt idx="119">
                  <c:v>1</c:v>
                </c:pt>
                <c:pt idx="120">
                  <c:v>3</c:v>
                </c:pt>
                <c:pt idx="121">
                  <c:v>2</c:v>
                </c:pt>
                <c:pt idx="122">
                  <c:v>3</c:v>
                </c:pt>
                <c:pt idx="123">
                  <c:v>5</c:v>
                </c:pt>
                <c:pt idx="124">
                  <c:v>0</c:v>
                </c:pt>
                <c:pt idx="125">
                  <c:v>0</c:v>
                </c:pt>
                <c:pt idx="12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9.6613497000085355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2.01.21</c:v>
                </c:pt>
                <c:pt idx="1">
                  <c:v>03.01.21</c:v>
                </c:pt>
                <c:pt idx="2">
                  <c:v>04.01.21</c:v>
                </c:pt>
                <c:pt idx="3">
                  <c:v>05.01.21</c:v>
                </c:pt>
                <c:pt idx="4">
                  <c:v>06.01.21</c:v>
                </c:pt>
                <c:pt idx="5">
                  <c:v>07.01.21</c:v>
                </c:pt>
                <c:pt idx="6">
                  <c:v>08.01.21</c:v>
                </c:pt>
                <c:pt idx="7">
                  <c:v>09.01.21</c:v>
                </c:pt>
                <c:pt idx="8">
                  <c:v>10.01.21</c:v>
                </c:pt>
                <c:pt idx="9">
                  <c:v>11.01.21</c:v>
                </c:pt>
                <c:pt idx="10">
                  <c:v>12.01.21</c:v>
                </c:pt>
                <c:pt idx="11">
                  <c:v>13.01.21</c:v>
                </c:pt>
                <c:pt idx="12">
                  <c:v>14.01.21</c:v>
                </c:pt>
                <c:pt idx="13">
                  <c:v>15.01.21</c:v>
                </c:pt>
                <c:pt idx="14">
                  <c:v>16.01.21</c:v>
                </c:pt>
                <c:pt idx="15">
                  <c:v>17.01.21</c:v>
                </c:pt>
                <c:pt idx="16">
                  <c:v>18.01.21</c:v>
                </c:pt>
                <c:pt idx="17">
                  <c:v>19.01.21</c:v>
                </c:pt>
                <c:pt idx="18">
                  <c:v>20.01.21</c:v>
                </c:pt>
                <c:pt idx="19">
                  <c:v>21.01.21</c:v>
                </c:pt>
                <c:pt idx="20">
                  <c:v>22.01.21</c:v>
                </c:pt>
                <c:pt idx="21">
                  <c:v>23.01.21</c:v>
                </c:pt>
                <c:pt idx="22">
                  <c:v>24.01.21</c:v>
                </c:pt>
                <c:pt idx="23">
                  <c:v>25.01.21</c:v>
                </c:pt>
                <c:pt idx="24">
                  <c:v>26.01.21</c:v>
                </c:pt>
                <c:pt idx="25">
                  <c:v>27.01.21</c:v>
                </c:pt>
                <c:pt idx="26">
                  <c:v>28.01.21</c:v>
                </c:pt>
                <c:pt idx="27">
                  <c:v>29.01.21</c:v>
                </c:pt>
                <c:pt idx="28">
                  <c:v>30.01.21</c:v>
                </c:pt>
                <c:pt idx="29">
                  <c:v>31.01.21</c:v>
                </c:pt>
                <c:pt idx="30">
                  <c:v>01.02.21</c:v>
                </c:pt>
                <c:pt idx="31">
                  <c:v>02.02.21</c:v>
                </c:pt>
                <c:pt idx="32">
                  <c:v>03.02.21</c:v>
                </c:pt>
                <c:pt idx="33">
                  <c:v>04.02.21</c:v>
                </c:pt>
                <c:pt idx="34">
                  <c:v>05.02.21</c:v>
                </c:pt>
                <c:pt idx="35">
                  <c:v>06.02.21</c:v>
                </c:pt>
                <c:pt idx="36">
                  <c:v>07.02.21</c:v>
                </c:pt>
                <c:pt idx="37">
                  <c:v>08.02.21</c:v>
                </c:pt>
                <c:pt idx="38">
                  <c:v>09.02.21</c:v>
                </c:pt>
                <c:pt idx="39">
                  <c:v>10.02.21</c:v>
                </c:pt>
                <c:pt idx="40">
                  <c:v>11.02.21</c:v>
                </c:pt>
                <c:pt idx="41">
                  <c:v>12.02.21</c:v>
                </c:pt>
                <c:pt idx="42">
                  <c:v>13.02.21</c:v>
                </c:pt>
                <c:pt idx="43">
                  <c:v>14.02.21</c:v>
                </c:pt>
                <c:pt idx="44">
                  <c:v>15.02.21</c:v>
                </c:pt>
                <c:pt idx="45">
                  <c:v>16.02.21</c:v>
                </c:pt>
                <c:pt idx="46">
                  <c:v>17.02.21</c:v>
                </c:pt>
                <c:pt idx="47">
                  <c:v>18.02.21</c:v>
                </c:pt>
                <c:pt idx="48">
                  <c:v>19.02.21</c:v>
                </c:pt>
                <c:pt idx="49">
                  <c:v>20.02.21</c:v>
                </c:pt>
                <c:pt idx="50">
                  <c:v>21.02.21</c:v>
                </c:pt>
                <c:pt idx="51">
                  <c:v>22.02.21</c:v>
                </c:pt>
                <c:pt idx="52">
                  <c:v>23.02.21</c:v>
                </c:pt>
                <c:pt idx="53">
                  <c:v>24.02.21</c:v>
                </c:pt>
                <c:pt idx="54">
                  <c:v>25.02.21</c:v>
                </c:pt>
                <c:pt idx="55">
                  <c:v>26.02.21</c:v>
                </c:pt>
                <c:pt idx="56">
                  <c:v>27.02.21</c:v>
                </c:pt>
                <c:pt idx="57">
                  <c:v>28.02.21</c:v>
                </c:pt>
                <c:pt idx="58">
                  <c:v>01.03.21</c:v>
                </c:pt>
                <c:pt idx="59">
                  <c:v>02.03.21</c:v>
                </c:pt>
                <c:pt idx="60">
                  <c:v>03.03.21</c:v>
                </c:pt>
                <c:pt idx="61">
                  <c:v>04.03.21</c:v>
                </c:pt>
                <c:pt idx="62">
                  <c:v>05.03.21</c:v>
                </c:pt>
                <c:pt idx="63">
                  <c:v>06.03.21</c:v>
                </c:pt>
                <c:pt idx="64">
                  <c:v>07.03.21</c:v>
                </c:pt>
                <c:pt idx="65">
                  <c:v>08.03.21</c:v>
                </c:pt>
                <c:pt idx="66">
                  <c:v>09.03.21</c:v>
                </c:pt>
                <c:pt idx="67">
                  <c:v>10.03.21</c:v>
                </c:pt>
                <c:pt idx="68">
                  <c:v>11.03.21</c:v>
                </c:pt>
                <c:pt idx="69">
                  <c:v>12.03.21</c:v>
                </c:pt>
                <c:pt idx="70">
                  <c:v>13.03.21</c:v>
                </c:pt>
                <c:pt idx="71">
                  <c:v>14.03.21</c:v>
                </c:pt>
                <c:pt idx="72">
                  <c:v>15.03.21</c:v>
                </c:pt>
                <c:pt idx="73">
                  <c:v>16.03.21</c:v>
                </c:pt>
                <c:pt idx="74">
                  <c:v>17.03.21</c:v>
                </c:pt>
                <c:pt idx="75">
                  <c:v>18.03.21</c:v>
                </c:pt>
                <c:pt idx="76">
                  <c:v>19.03.21</c:v>
                </c:pt>
                <c:pt idx="77">
                  <c:v>20.03.21</c:v>
                </c:pt>
                <c:pt idx="78">
                  <c:v>21.03.21</c:v>
                </c:pt>
                <c:pt idx="79">
                  <c:v>22.03.21</c:v>
                </c:pt>
                <c:pt idx="80">
                  <c:v>23.03.21</c:v>
                </c:pt>
                <c:pt idx="81">
                  <c:v>24.03.21</c:v>
                </c:pt>
                <c:pt idx="82">
                  <c:v>25.03.21</c:v>
                </c:pt>
                <c:pt idx="83">
                  <c:v>26.03.21</c:v>
                </c:pt>
                <c:pt idx="84">
                  <c:v>27.03.21</c:v>
                </c:pt>
                <c:pt idx="85">
                  <c:v>28.03.21</c:v>
                </c:pt>
                <c:pt idx="86">
                  <c:v>29.03.21</c:v>
                </c:pt>
                <c:pt idx="87">
                  <c:v>30.03.21</c:v>
                </c:pt>
                <c:pt idx="88">
                  <c:v>31.03.21</c:v>
                </c:pt>
                <c:pt idx="89">
                  <c:v>01.04.21</c:v>
                </c:pt>
                <c:pt idx="90">
                  <c:v>02.04.21</c:v>
                </c:pt>
                <c:pt idx="91">
                  <c:v>03.04.21</c:v>
                </c:pt>
                <c:pt idx="92">
                  <c:v>04.04.21</c:v>
                </c:pt>
                <c:pt idx="93">
                  <c:v>05.04.21</c:v>
                </c:pt>
                <c:pt idx="94">
                  <c:v>06.04.21</c:v>
                </c:pt>
                <c:pt idx="95">
                  <c:v>07.04.21</c:v>
                </c:pt>
                <c:pt idx="96">
                  <c:v>08.04.21</c:v>
                </c:pt>
                <c:pt idx="97">
                  <c:v>09.04.21</c:v>
                </c:pt>
                <c:pt idx="98">
                  <c:v>10.04.21</c:v>
                </c:pt>
                <c:pt idx="99">
                  <c:v>11.04.21</c:v>
                </c:pt>
                <c:pt idx="100">
                  <c:v>12.04.21</c:v>
                </c:pt>
                <c:pt idx="101">
                  <c:v>13.04.21</c:v>
                </c:pt>
                <c:pt idx="102">
                  <c:v>14.04.21</c:v>
                </c:pt>
                <c:pt idx="103">
                  <c:v>15.04.21</c:v>
                </c:pt>
                <c:pt idx="104">
                  <c:v>16.04.21</c:v>
                </c:pt>
                <c:pt idx="105">
                  <c:v>17.04.21</c:v>
                </c:pt>
                <c:pt idx="106">
                  <c:v>18.04.21</c:v>
                </c:pt>
                <c:pt idx="107">
                  <c:v>19.04.21</c:v>
                </c:pt>
                <c:pt idx="108">
                  <c:v>20.04.21</c:v>
                </c:pt>
                <c:pt idx="109">
                  <c:v>21.04.21</c:v>
                </c:pt>
                <c:pt idx="110">
                  <c:v>22.04.21</c:v>
                </c:pt>
                <c:pt idx="111">
                  <c:v>23.04.21</c:v>
                </c:pt>
                <c:pt idx="112">
                  <c:v>24.04.21</c:v>
                </c:pt>
                <c:pt idx="113">
                  <c:v>25.04.21</c:v>
                </c:pt>
                <c:pt idx="114">
                  <c:v>26.04.21</c:v>
                </c:pt>
                <c:pt idx="115">
                  <c:v>27.04.21</c:v>
                </c:pt>
                <c:pt idx="116">
                  <c:v>28.04.21</c:v>
                </c:pt>
                <c:pt idx="117">
                  <c:v>29.04.21</c:v>
                </c:pt>
                <c:pt idx="118">
                  <c:v>30.04.21</c:v>
                </c:pt>
                <c:pt idx="119">
                  <c:v>01.05.21</c:v>
                </c:pt>
                <c:pt idx="120">
                  <c:v>02.05.21</c:v>
                </c:pt>
                <c:pt idx="121">
                  <c:v>03.05.21</c:v>
                </c:pt>
                <c:pt idx="122">
                  <c:v>04.05.21</c:v>
                </c:pt>
                <c:pt idx="123">
                  <c:v>05.05.21</c:v>
                </c:pt>
                <c:pt idx="124">
                  <c:v>06.05.21</c:v>
                </c:pt>
                <c:pt idx="125">
                  <c:v>07.05.21</c:v>
                </c:pt>
                <c:pt idx="126">
                  <c:v>08.05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137</c:v>
                </c:pt>
                <c:pt idx="1">
                  <c:v>156</c:v>
                </c:pt>
                <c:pt idx="2">
                  <c:v>379</c:v>
                </c:pt>
                <c:pt idx="3">
                  <c:v>376</c:v>
                </c:pt>
                <c:pt idx="4">
                  <c:v>337</c:v>
                </c:pt>
                <c:pt idx="5">
                  <c:v>273</c:v>
                </c:pt>
                <c:pt idx="6">
                  <c:v>241</c:v>
                </c:pt>
                <c:pt idx="7">
                  <c:v>126</c:v>
                </c:pt>
                <c:pt idx="8">
                  <c:v>74</c:v>
                </c:pt>
                <c:pt idx="9">
                  <c:v>272</c:v>
                </c:pt>
                <c:pt idx="10">
                  <c:v>226</c:v>
                </c:pt>
                <c:pt idx="11">
                  <c:v>192</c:v>
                </c:pt>
                <c:pt idx="12">
                  <c:v>157</c:v>
                </c:pt>
                <c:pt idx="13">
                  <c:v>197</c:v>
                </c:pt>
                <c:pt idx="14">
                  <c:v>87</c:v>
                </c:pt>
                <c:pt idx="15">
                  <c:v>46</c:v>
                </c:pt>
                <c:pt idx="16">
                  <c:v>191</c:v>
                </c:pt>
                <c:pt idx="17">
                  <c:v>208</c:v>
                </c:pt>
                <c:pt idx="18">
                  <c:v>171</c:v>
                </c:pt>
                <c:pt idx="19">
                  <c:v>144</c:v>
                </c:pt>
                <c:pt idx="20">
                  <c:v>136</c:v>
                </c:pt>
                <c:pt idx="21">
                  <c:v>65</c:v>
                </c:pt>
                <c:pt idx="22">
                  <c:v>42</c:v>
                </c:pt>
                <c:pt idx="23">
                  <c:v>153</c:v>
                </c:pt>
                <c:pt idx="24">
                  <c:v>166</c:v>
                </c:pt>
                <c:pt idx="25">
                  <c:v>110</c:v>
                </c:pt>
                <c:pt idx="26">
                  <c:v>125</c:v>
                </c:pt>
                <c:pt idx="27">
                  <c:v>103</c:v>
                </c:pt>
                <c:pt idx="28">
                  <c:v>54</c:v>
                </c:pt>
                <c:pt idx="29">
                  <c:v>31</c:v>
                </c:pt>
                <c:pt idx="30">
                  <c:v>122</c:v>
                </c:pt>
                <c:pt idx="31">
                  <c:v>111</c:v>
                </c:pt>
                <c:pt idx="32">
                  <c:v>125</c:v>
                </c:pt>
                <c:pt idx="33">
                  <c:v>104</c:v>
                </c:pt>
                <c:pt idx="34">
                  <c:v>106</c:v>
                </c:pt>
                <c:pt idx="35">
                  <c:v>54</c:v>
                </c:pt>
                <c:pt idx="36">
                  <c:v>28</c:v>
                </c:pt>
                <c:pt idx="37">
                  <c:v>119</c:v>
                </c:pt>
                <c:pt idx="38">
                  <c:v>110</c:v>
                </c:pt>
                <c:pt idx="39">
                  <c:v>101</c:v>
                </c:pt>
                <c:pt idx="40">
                  <c:v>105</c:v>
                </c:pt>
                <c:pt idx="41">
                  <c:v>99</c:v>
                </c:pt>
                <c:pt idx="42">
                  <c:v>45</c:v>
                </c:pt>
                <c:pt idx="43">
                  <c:v>28</c:v>
                </c:pt>
                <c:pt idx="44">
                  <c:v>118</c:v>
                </c:pt>
                <c:pt idx="45">
                  <c:v>116</c:v>
                </c:pt>
                <c:pt idx="46">
                  <c:v>111</c:v>
                </c:pt>
                <c:pt idx="47">
                  <c:v>108</c:v>
                </c:pt>
                <c:pt idx="48">
                  <c:v>124</c:v>
                </c:pt>
                <c:pt idx="49">
                  <c:v>56</c:v>
                </c:pt>
                <c:pt idx="50">
                  <c:v>35</c:v>
                </c:pt>
                <c:pt idx="51">
                  <c:v>123</c:v>
                </c:pt>
                <c:pt idx="52">
                  <c:v>148</c:v>
                </c:pt>
                <c:pt idx="53">
                  <c:v>130</c:v>
                </c:pt>
                <c:pt idx="54">
                  <c:v>118</c:v>
                </c:pt>
                <c:pt idx="55">
                  <c:v>142</c:v>
                </c:pt>
                <c:pt idx="56">
                  <c:v>76</c:v>
                </c:pt>
                <c:pt idx="57">
                  <c:v>37</c:v>
                </c:pt>
                <c:pt idx="58">
                  <c:v>125</c:v>
                </c:pt>
                <c:pt idx="59">
                  <c:v>135</c:v>
                </c:pt>
                <c:pt idx="60">
                  <c:v>113</c:v>
                </c:pt>
                <c:pt idx="61">
                  <c:v>112</c:v>
                </c:pt>
                <c:pt idx="62">
                  <c:v>116</c:v>
                </c:pt>
                <c:pt idx="63">
                  <c:v>60</c:v>
                </c:pt>
                <c:pt idx="64">
                  <c:v>38</c:v>
                </c:pt>
                <c:pt idx="65">
                  <c:v>104</c:v>
                </c:pt>
                <c:pt idx="66">
                  <c:v>117</c:v>
                </c:pt>
                <c:pt idx="67">
                  <c:v>108</c:v>
                </c:pt>
                <c:pt idx="68">
                  <c:v>87</c:v>
                </c:pt>
                <c:pt idx="69">
                  <c:v>112</c:v>
                </c:pt>
                <c:pt idx="70">
                  <c:v>50</c:v>
                </c:pt>
                <c:pt idx="71">
                  <c:v>30</c:v>
                </c:pt>
                <c:pt idx="72">
                  <c:v>105</c:v>
                </c:pt>
                <c:pt idx="73">
                  <c:v>87</c:v>
                </c:pt>
                <c:pt idx="74">
                  <c:v>87</c:v>
                </c:pt>
                <c:pt idx="75">
                  <c:v>77</c:v>
                </c:pt>
                <c:pt idx="76">
                  <c:v>78</c:v>
                </c:pt>
                <c:pt idx="77">
                  <c:v>30</c:v>
                </c:pt>
                <c:pt idx="78">
                  <c:v>24</c:v>
                </c:pt>
                <c:pt idx="79">
                  <c:v>97</c:v>
                </c:pt>
                <c:pt idx="80">
                  <c:v>65</c:v>
                </c:pt>
                <c:pt idx="81">
                  <c:v>64</c:v>
                </c:pt>
                <c:pt idx="82">
                  <c:v>46</c:v>
                </c:pt>
                <c:pt idx="83">
                  <c:v>51</c:v>
                </c:pt>
                <c:pt idx="84">
                  <c:v>29</c:v>
                </c:pt>
                <c:pt idx="85">
                  <c:v>18</c:v>
                </c:pt>
                <c:pt idx="86">
                  <c:v>55</c:v>
                </c:pt>
                <c:pt idx="87">
                  <c:v>54</c:v>
                </c:pt>
                <c:pt idx="88">
                  <c:v>36</c:v>
                </c:pt>
                <c:pt idx="89">
                  <c:v>46</c:v>
                </c:pt>
                <c:pt idx="90">
                  <c:v>26</c:v>
                </c:pt>
                <c:pt idx="91">
                  <c:v>22</c:v>
                </c:pt>
                <c:pt idx="92">
                  <c:v>22</c:v>
                </c:pt>
                <c:pt idx="93">
                  <c:v>22</c:v>
                </c:pt>
                <c:pt idx="94">
                  <c:v>65</c:v>
                </c:pt>
                <c:pt idx="95">
                  <c:v>49</c:v>
                </c:pt>
                <c:pt idx="96">
                  <c:v>33</c:v>
                </c:pt>
                <c:pt idx="97">
                  <c:v>27</c:v>
                </c:pt>
                <c:pt idx="98">
                  <c:v>15</c:v>
                </c:pt>
                <c:pt idx="99">
                  <c:v>8</c:v>
                </c:pt>
                <c:pt idx="100">
                  <c:v>25</c:v>
                </c:pt>
                <c:pt idx="101">
                  <c:v>29</c:v>
                </c:pt>
                <c:pt idx="102">
                  <c:v>27</c:v>
                </c:pt>
                <c:pt idx="103">
                  <c:v>23</c:v>
                </c:pt>
                <c:pt idx="104">
                  <c:v>24</c:v>
                </c:pt>
                <c:pt idx="105">
                  <c:v>8</c:v>
                </c:pt>
                <c:pt idx="106">
                  <c:v>6</c:v>
                </c:pt>
                <c:pt idx="107">
                  <c:v>28</c:v>
                </c:pt>
                <c:pt idx="108">
                  <c:v>26</c:v>
                </c:pt>
                <c:pt idx="109">
                  <c:v>20</c:v>
                </c:pt>
                <c:pt idx="110">
                  <c:v>11</c:v>
                </c:pt>
                <c:pt idx="111">
                  <c:v>9</c:v>
                </c:pt>
                <c:pt idx="112">
                  <c:v>8</c:v>
                </c:pt>
                <c:pt idx="113">
                  <c:v>4</c:v>
                </c:pt>
                <c:pt idx="114">
                  <c:v>11</c:v>
                </c:pt>
                <c:pt idx="115">
                  <c:v>10</c:v>
                </c:pt>
                <c:pt idx="116">
                  <c:v>7</c:v>
                </c:pt>
                <c:pt idx="117">
                  <c:v>14</c:v>
                </c:pt>
                <c:pt idx="118">
                  <c:v>17</c:v>
                </c:pt>
                <c:pt idx="119">
                  <c:v>5</c:v>
                </c:pt>
                <c:pt idx="120">
                  <c:v>4</c:v>
                </c:pt>
                <c:pt idx="121">
                  <c:v>18</c:v>
                </c:pt>
                <c:pt idx="122">
                  <c:v>12</c:v>
                </c:pt>
                <c:pt idx="123">
                  <c:v>11</c:v>
                </c:pt>
                <c:pt idx="124">
                  <c:v>6</c:v>
                </c:pt>
                <c:pt idx="125">
                  <c:v>12</c:v>
                </c:pt>
                <c:pt idx="12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6.2810391044661358E-4"/>
                  <c:y val="-4.8675622813852931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0.111368653117717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2.01.21</c:v>
                </c:pt>
                <c:pt idx="1">
                  <c:v>03.01.21</c:v>
                </c:pt>
                <c:pt idx="2">
                  <c:v>04.01.21</c:v>
                </c:pt>
                <c:pt idx="3">
                  <c:v>05.01.21</c:v>
                </c:pt>
                <c:pt idx="4">
                  <c:v>06.01.21</c:v>
                </c:pt>
                <c:pt idx="5">
                  <c:v>07.01.21</c:v>
                </c:pt>
                <c:pt idx="6">
                  <c:v>08.01.21</c:v>
                </c:pt>
                <c:pt idx="7">
                  <c:v>09.01.21</c:v>
                </c:pt>
                <c:pt idx="8">
                  <c:v>10.01.21</c:v>
                </c:pt>
                <c:pt idx="9">
                  <c:v>11.01.21</c:v>
                </c:pt>
                <c:pt idx="10">
                  <c:v>12.01.21</c:v>
                </c:pt>
                <c:pt idx="11">
                  <c:v>13.01.21</c:v>
                </c:pt>
                <c:pt idx="12">
                  <c:v>14.01.21</c:v>
                </c:pt>
                <c:pt idx="13">
                  <c:v>15.01.21</c:v>
                </c:pt>
                <c:pt idx="14">
                  <c:v>16.01.21</c:v>
                </c:pt>
                <c:pt idx="15">
                  <c:v>17.01.21</c:v>
                </c:pt>
                <c:pt idx="16">
                  <c:v>18.01.21</c:v>
                </c:pt>
                <c:pt idx="17">
                  <c:v>19.01.21</c:v>
                </c:pt>
                <c:pt idx="18">
                  <c:v>20.01.21</c:v>
                </c:pt>
                <c:pt idx="19">
                  <c:v>21.01.21</c:v>
                </c:pt>
                <c:pt idx="20">
                  <c:v>22.01.21</c:v>
                </c:pt>
                <c:pt idx="21">
                  <c:v>23.01.21</c:v>
                </c:pt>
                <c:pt idx="22">
                  <c:v>24.01.21</c:v>
                </c:pt>
                <c:pt idx="23">
                  <c:v>25.01.21</c:v>
                </c:pt>
                <c:pt idx="24">
                  <c:v>26.01.21</c:v>
                </c:pt>
                <c:pt idx="25">
                  <c:v>27.01.21</c:v>
                </c:pt>
                <c:pt idx="26">
                  <c:v>28.01.21</c:v>
                </c:pt>
                <c:pt idx="27">
                  <c:v>29.01.21</c:v>
                </c:pt>
                <c:pt idx="28">
                  <c:v>30.01.21</c:v>
                </c:pt>
                <c:pt idx="29">
                  <c:v>31.01.21</c:v>
                </c:pt>
                <c:pt idx="30">
                  <c:v>01.02.21</c:v>
                </c:pt>
                <c:pt idx="31">
                  <c:v>02.02.21</c:v>
                </c:pt>
                <c:pt idx="32">
                  <c:v>03.02.21</c:v>
                </c:pt>
                <c:pt idx="33">
                  <c:v>04.02.21</c:v>
                </c:pt>
                <c:pt idx="34">
                  <c:v>05.02.21</c:v>
                </c:pt>
                <c:pt idx="35">
                  <c:v>06.02.21</c:v>
                </c:pt>
                <c:pt idx="36">
                  <c:v>07.02.21</c:v>
                </c:pt>
                <c:pt idx="37">
                  <c:v>08.02.21</c:v>
                </c:pt>
                <c:pt idx="38">
                  <c:v>09.02.21</c:v>
                </c:pt>
                <c:pt idx="39">
                  <c:v>10.02.21</c:v>
                </c:pt>
                <c:pt idx="40">
                  <c:v>11.02.21</c:v>
                </c:pt>
                <c:pt idx="41">
                  <c:v>12.02.21</c:v>
                </c:pt>
                <c:pt idx="42">
                  <c:v>13.02.21</c:v>
                </c:pt>
                <c:pt idx="43">
                  <c:v>14.02.21</c:v>
                </c:pt>
                <c:pt idx="44">
                  <c:v>15.02.21</c:v>
                </c:pt>
                <c:pt idx="45">
                  <c:v>16.02.21</c:v>
                </c:pt>
                <c:pt idx="46">
                  <c:v>17.02.21</c:v>
                </c:pt>
                <c:pt idx="47">
                  <c:v>18.02.21</c:v>
                </c:pt>
                <c:pt idx="48">
                  <c:v>19.02.21</c:v>
                </c:pt>
                <c:pt idx="49">
                  <c:v>20.02.21</c:v>
                </c:pt>
                <c:pt idx="50">
                  <c:v>21.02.21</c:v>
                </c:pt>
                <c:pt idx="51">
                  <c:v>22.02.21</c:v>
                </c:pt>
                <c:pt idx="52">
                  <c:v>23.02.21</c:v>
                </c:pt>
                <c:pt idx="53">
                  <c:v>24.02.21</c:v>
                </c:pt>
                <c:pt idx="54">
                  <c:v>25.02.21</c:v>
                </c:pt>
                <c:pt idx="55">
                  <c:v>26.02.21</c:v>
                </c:pt>
                <c:pt idx="56">
                  <c:v>27.02.21</c:v>
                </c:pt>
                <c:pt idx="57">
                  <c:v>28.02.21</c:v>
                </c:pt>
                <c:pt idx="58">
                  <c:v>01.03.21</c:v>
                </c:pt>
                <c:pt idx="59">
                  <c:v>02.03.21</c:v>
                </c:pt>
                <c:pt idx="60">
                  <c:v>03.03.21</c:v>
                </c:pt>
                <c:pt idx="61">
                  <c:v>04.03.21</c:v>
                </c:pt>
                <c:pt idx="62">
                  <c:v>05.03.21</c:v>
                </c:pt>
                <c:pt idx="63">
                  <c:v>06.03.21</c:v>
                </c:pt>
                <c:pt idx="64">
                  <c:v>07.03.21</c:v>
                </c:pt>
                <c:pt idx="65">
                  <c:v>08.03.21</c:v>
                </c:pt>
                <c:pt idx="66">
                  <c:v>09.03.21</c:v>
                </c:pt>
                <c:pt idx="67">
                  <c:v>10.03.21</c:v>
                </c:pt>
                <c:pt idx="68">
                  <c:v>11.03.21</c:v>
                </c:pt>
                <c:pt idx="69">
                  <c:v>12.03.21</c:v>
                </c:pt>
                <c:pt idx="70">
                  <c:v>13.03.21</c:v>
                </c:pt>
                <c:pt idx="71">
                  <c:v>14.03.21</c:v>
                </c:pt>
                <c:pt idx="72">
                  <c:v>15.03.21</c:v>
                </c:pt>
                <c:pt idx="73">
                  <c:v>16.03.21</c:v>
                </c:pt>
                <c:pt idx="74">
                  <c:v>17.03.21</c:v>
                </c:pt>
                <c:pt idx="75">
                  <c:v>18.03.21</c:v>
                </c:pt>
                <c:pt idx="76">
                  <c:v>19.03.21</c:v>
                </c:pt>
                <c:pt idx="77">
                  <c:v>20.03.21</c:v>
                </c:pt>
                <c:pt idx="78">
                  <c:v>21.03.21</c:v>
                </c:pt>
                <c:pt idx="79">
                  <c:v>22.03.21</c:v>
                </c:pt>
                <c:pt idx="80">
                  <c:v>23.03.21</c:v>
                </c:pt>
                <c:pt idx="81">
                  <c:v>24.03.21</c:v>
                </c:pt>
                <c:pt idx="82">
                  <c:v>25.03.21</c:v>
                </c:pt>
                <c:pt idx="83">
                  <c:v>26.03.21</c:v>
                </c:pt>
                <c:pt idx="84">
                  <c:v>27.03.21</c:v>
                </c:pt>
                <c:pt idx="85">
                  <c:v>28.03.21</c:v>
                </c:pt>
                <c:pt idx="86">
                  <c:v>29.03.21</c:v>
                </c:pt>
                <c:pt idx="87">
                  <c:v>30.03.21</c:v>
                </c:pt>
                <c:pt idx="88">
                  <c:v>31.03.21</c:v>
                </c:pt>
                <c:pt idx="89">
                  <c:v>01.04.21</c:v>
                </c:pt>
                <c:pt idx="90">
                  <c:v>02.04.21</c:v>
                </c:pt>
                <c:pt idx="91">
                  <c:v>03.04.21</c:v>
                </c:pt>
                <c:pt idx="92">
                  <c:v>04.04.21</c:v>
                </c:pt>
                <c:pt idx="93">
                  <c:v>05.04.21</c:v>
                </c:pt>
                <c:pt idx="94">
                  <c:v>06.04.21</c:v>
                </c:pt>
                <c:pt idx="95">
                  <c:v>07.04.21</c:v>
                </c:pt>
                <c:pt idx="96">
                  <c:v>08.04.21</c:v>
                </c:pt>
                <c:pt idx="97">
                  <c:v>09.04.21</c:v>
                </c:pt>
                <c:pt idx="98">
                  <c:v>10.04.21</c:v>
                </c:pt>
                <c:pt idx="99">
                  <c:v>11.04.21</c:v>
                </c:pt>
                <c:pt idx="100">
                  <c:v>12.04.21</c:v>
                </c:pt>
                <c:pt idx="101">
                  <c:v>13.04.21</c:v>
                </c:pt>
                <c:pt idx="102">
                  <c:v>14.04.21</c:v>
                </c:pt>
                <c:pt idx="103">
                  <c:v>15.04.21</c:v>
                </c:pt>
                <c:pt idx="104">
                  <c:v>16.04.21</c:v>
                </c:pt>
                <c:pt idx="105">
                  <c:v>17.04.21</c:v>
                </c:pt>
                <c:pt idx="106">
                  <c:v>18.04.21</c:v>
                </c:pt>
                <c:pt idx="107">
                  <c:v>19.04.21</c:v>
                </c:pt>
                <c:pt idx="108">
                  <c:v>20.04.21</c:v>
                </c:pt>
                <c:pt idx="109">
                  <c:v>21.04.21</c:v>
                </c:pt>
                <c:pt idx="110">
                  <c:v>22.04.21</c:v>
                </c:pt>
                <c:pt idx="111">
                  <c:v>23.04.21</c:v>
                </c:pt>
                <c:pt idx="112">
                  <c:v>24.04.21</c:v>
                </c:pt>
                <c:pt idx="113">
                  <c:v>25.04.21</c:v>
                </c:pt>
                <c:pt idx="114">
                  <c:v>26.04.21</c:v>
                </c:pt>
                <c:pt idx="115">
                  <c:v>27.04.21</c:v>
                </c:pt>
                <c:pt idx="116">
                  <c:v>28.04.21</c:v>
                </c:pt>
                <c:pt idx="117">
                  <c:v>29.04.21</c:v>
                </c:pt>
                <c:pt idx="118">
                  <c:v>30.04.21</c:v>
                </c:pt>
                <c:pt idx="119">
                  <c:v>01.05.21</c:v>
                </c:pt>
                <c:pt idx="120">
                  <c:v>02.05.21</c:v>
                </c:pt>
                <c:pt idx="121">
                  <c:v>03.05.21</c:v>
                </c:pt>
                <c:pt idx="122">
                  <c:v>04.05.21</c:v>
                </c:pt>
                <c:pt idx="123">
                  <c:v>05.05.21</c:v>
                </c:pt>
                <c:pt idx="124">
                  <c:v>06.05.21</c:v>
                </c:pt>
                <c:pt idx="125">
                  <c:v>07.05.21</c:v>
                </c:pt>
                <c:pt idx="126">
                  <c:v>08.05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24</c:v>
                </c:pt>
                <c:pt idx="1">
                  <c:v>87</c:v>
                </c:pt>
                <c:pt idx="2">
                  <c:v>311</c:v>
                </c:pt>
                <c:pt idx="3">
                  <c:v>301</c:v>
                </c:pt>
                <c:pt idx="4">
                  <c:v>307</c:v>
                </c:pt>
                <c:pt idx="5">
                  <c:v>269</c:v>
                </c:pt>
                <c:pt idx="6">
                  <c:v>229</c:v>
                </c:pt>
                <c:pt idx="7">
                  <c:v>122</c:v>
                </c:pt>
                <c:pt idx="8">
                  <c:v>70</c:v>
                </c:pt>
                <c:pt idx="9">
                  <c:v>187</c:v>
                </c:pt>
                <c:pt idx="10">
                  <c:v>207</c:v>
                </c:pt>
                <c:pt idx="11">
                  <c:v>225</c:v>
                </c:pt>
                <c:pt idx="12">
                  <c:v>145</c:v>
                </c:pt>
                <c:pt idx="13">
                  <c:v>190</c:v>
                </c:pt>
                <c:pt idx="14">
                  <c:v>85</c:v>
                </c:pt>
                <c:pt idx="15">
                  <c:v>33</c:v>
                </c:pt>
                <c:pt idx="16">
                  <c:v>194</c:v>
                </c:pt>
                <c:pt idx="17">
                  <c:v>193</c:v>
                </c:pt>
                <c:pt idx="18">
                  <c:v>125</c:v>
                </c:pt>
                <c:pt idx="19">
                  <c:v>155</c:v>
                </c:pt>
                <c:pt idx="20">
                  <c:v>155</c:v>
                </c:pt>
                <c:pt idx="21">
                  <c:v>70</c:v>
                </c:pt>
                <c:pt idx="22">
                  <c:v>49</c:v>
                </c:pt>
                <c:pt idx="23">
                  <c:v>139</c:v>
                </c:pt>
                <c:pt idx="24">
                  <c:v>144</c:v>
                </c:pt>
                <c:pt idx="25">
                  <c:v>154</c:v>
                </c:pt>
                <c:pt idx="26">
                  <c:v>130</c:v>
                </c:pt>
                <c:pt idx="27">
                  <c:v>99</c:v>
                </c:pt>
                <c:pt idx="28">
                  <c:v>55</c:v>
                </c:pt>
                <c:pt idx="29">
                  <c:v>44</c:v>
                </c:pt>
                <c:pt idx="30">
                  <c:v>115</c:v>
                </c:pt>
                <c:pt idx="31">
                  <c:v>133</c:v>
                </c:pt>
                <c:pt idx="32">
                  <c:v>144</c:v>
                </c:pt>
                <c:pt idx="33">
                  <c:v>87</c:v>
                </c:pt>
                <c:pt idx="34">
                  <c:v>109</c:v>
                </c:pt>
                <c:pt idx="35">
                  <c:v>49</c:v>
                </c:pt>
                <c:pt idx="36">
                  <c:v>40</c:v>
                </c:pt>
                <c:pt idx="37">
                  <c:v>120</c:v>
                </c:pt>
                <c:pt idx="38">
                  <c:v>144</c:v>
                </c:pt>
                <c:pt idx="39">
                  <c:v>139</c:v>
                </c:pt>
                <c:pt idx="40">
                  <c:v>108</c:v>
                </c:pt>
                <c:pt idx="41">
                  <c:v>109</c:v>
                </c:pt>
                <c:pt idx="42">
                  <c:v>55</c:v>
                </c:pt>
                <c:pt idx="43">
                  <c:v>24</c:v>
                </c:pt>
                <c:pt idx="44">
                  <c:v>124</c:v>
                </c:pt>
                <c:pt idx="45">
                  <c:v>126</c:v>
                </c:pt>
                <c:pt idx="46">
                  <c:v>135</c:v>
                </c:pt>
                <c:pt idx="47">
                  <c:v>128</c:v>
                </c:pt>
                <c:pt idx="48">
                  <c:v>118</c:v>
                </c:pt>
                <c:pt idx="49">
                  <c:v>61</c:v>
                </c:pt>
                <c:pt idx="50">
                  <c:v>29</c:v>
                </c:pt>
                <c:pt idx="51">
                  <c:v>121</c:v>
                </c:pt>
                <c:pt idx="52">
                  <c:v>164</c:v>
                </c:pt>
                <c:pt idx="53">
                  <c:v>143</c:v>
                </c:pt>
                <c:pt idx="54">
                  <c:v>139</c:v>
                </c:pt>
                <c:pt idx="55">
                  <c:v>142</c:v>
                </c:pt>
                <c:pt idx="56">
                  <c:v>76</c:v>
                </c:pt>
                <c:pt idx="57">
                  <c:v>37</c:v>
                </c:pt>
                <c:pt idx="58">
                  <c:v>153</c:v>
                </c:pt>
                <c:pt idx="59">
                  <c:v>172</c:v>
                </c:pt>
                <c:pt idx="60">
                  <c:v>168</c:v>
                </c:pt>
                <c:pt idx="61">
                  <c:v>152</c:v>
                </c:pt>
                <c:pt idx="62">
                  <c:v>138</c:v>
                </c:pt>
                <c:pt idx="63">
                  <c:v>70</c:v>
                </c:pt>
                <c:pt idx="64">
                  <c:v>32</c:v>
                </c:pt>
                <c:pt idx="65">
                  <c:v>114</c:v>
                </c:pt>
                <c:pt idx="66">
                  <c:v>147</c:v>
                </c:pt>
                <c:pt idx="67">
                  <c:v>127</c:v>
                </c:pt>
                <c:pt idx="68">
                  <c:v>111</c:v>
                </c:pt>
                <c:pt idx="69">
                  <c:v>125</c:v>
                </c:pt>
                <c:pt idx="70">
                  <c:v>64</c:v>
                </c:pt>
                <c:pt idx="71">
                  <c:v>32</c:v>
                </c:pt>
                <c:pt idx="72">
                  <c:v>117</c:v>
                </c:pt>
                <c:pt idx="73">
                  <c:v>127</c:v>
                </c:pt>
                <c:pt idx="74">
                  <c:v>98</c:v>
                </c:pt>
                <c:pt idx="75">
                  <c:v>93</c:v>
                </c:pt>
                <c:pt idx="76">
                  <c:v>72</c:v>
                </c:pt>
                <c:pt idx="77">
                  <c:v>28</c:v>
                </c:pt>
                <c:pt idx="78">
                  <c:v>18</c:v>
                </c:pt>
                <c:pt idx="79">
                  <c:v>84</c:v>
                </c:pt>
                <c:pt idx="80">
                  <c:v>84</c:v>
                </c:pt>
                <c:pt idx="81">
                  <c:v>67</c:v>
                </c:pt>
                <c:pt idx="82">
                  <c:v>65</c:v>
                </c:pt>
                <c:pt idx="83">
                  <c:v>57</c:v>
                </c:pt>
                <c:pt idx="84">
                  <c:v>19</c:v>
                </c:pt>
                <c:pt idx="85">
                  <c:v>7</c:v>
                </c:pt>
                <c:pt idx="86">
                  <c:v>70</c:v>
                </c:pt>
                <c:pt idx="87">
                  <c:v>78</c:v>
                </c:pt>
                <c:pt idx="88">
                  <c:v>62</c:v>
                </c:pt>
                <c:pt idx="89">
                  <c:v>32</c:v>
                </c:pt>
                <c:pt idx="90">
                  <c:v>16</c:v>
                </c:pt>
                <c:pt idx="91">
                  <c:v>10</c:v>
                </c:pt>
                <c:pt idx="92">
                  <c:v>15</c:v>
                </c:pt>
                <c:pt idx="93">
                  <c:v>9</c:v>
                </c:pt>
                <c:pt idx="94">
                  <c:v>42</c:v>
                </c:pt>
                <c:pt idx="95">
                  <c:v>40</c:v>
                </c:pt>
                <c:pt idx="96">
                  <c:v>45</c:v>
                </c:pt>
                <c:pt idx="97">
                  <c:v>30</c:v>
                </c:pt>
                <c:pt idx="98">
                  <c:v>14</c:v>
                </c:pt>
                <c:pt idx="99">
                  <c:v>5</c:v>
                </c:pt>
                <c:pt idx="100">
                  <c:v>26</c:v>
                </c:pt>
                <c:pt idx="101">
                  <c:v>24</c:v>
                </c:pt>
                <c:pt idx="102">
                  <c:v>23</c:v>
                </c:pt>
                <c:pt idx="103">
                  <c:v>19</c:v>
                </c:pt>
                <c:pt idx="104">
                  <c:v>21</c:v>
                </c:pt>
                <c:pt idx="105">
                  <c:v>8</c:v>
                </c:pt>
                <c:pt idx="106">
                  <c:v>5</c:v>
                </c:pt>
                <c:pt idx="107">
                  <c:v>22</c:v>
                </c:pt>
                <c:pt idx="108">
                  <c:v>21</c:v>
                </c:pt>
                <c:pt idx="109">
                  <c:v>30</c:v>
                </c:pt>
                <c:pt idx="110">
                  <c:v>11</c:v>
                </c:pt>
                <c:pt idx="111">
                  <c:v>14</c:v>
                </c:pt>
                <c:pt idx="112">
                  <c:v>4</c:v>
                </c:pt>
                <c:pt idx="113">
                  <c:v>2</c:v>
                </c:pt>
                <c:pt idx="114">
                  <c:v>15</c:v>
                </c:pt>
                <c:pt idx="115">
                  <c:v>20</c:v>
                </c:pt>
                <c:pt idx="116">
                  <c:v>12</c:v>
                </c:pt>
                <c:pt idx="117">
                  <c:v>19</c:v>
                </c:pt>
                <c:pt idx="118">
                  <c:v>17</c:v>
                </c:pt>
                <c:pt idx="119">
                  <c:v>4</c:v>
                </c:pt>
                <c:pt idx="120">
                  <c:v>3</c:v>
                </c:pt>
                <c:pt idx="121">
                  <c:v>10</c:v>
                </c:pt>
                <c:pt idx="122">
                  <c:v>17</c:v>
                </c:pt>
                <c:pt idx="123">
                  <c:v>11</c:v>
                </c:pt>
                <c:pt idx="124">
                  <c:v>14</c:v>
                </c:pt>
                <c:pt idx="125">
                  <c:v>15</c:v>
                </c:pt>
                <c:pt idx="126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928837285169852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3.2845470587363021E-4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86443207452346"/>
                      <c:h val="4.18791471257673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3.01.21</c:v>
                </c:pt>
                <c:pt idx="1">
                  <c:v>04.01.21</c:v>
                </c:pt>
                <c:pt idx="2">
                  <c:v>05.01.21</c:v>
                </c:pt>
                <c:pt idx="3">
                  <c:v>06.01.21</c:v>
                </c:pt>
                <c:pt idx="4">
                  <c:v>07.01.21</c:v>
                </c:pt>
                <c:pt idx="5">
                  <c:v>08.01.21</c:v>
                </c:pt>
                <c:pt idx="6">
                  <c:v>09.01.21</c:v>
                </c:pt>
                <c:pt idx="7">
                  <c:v>10.01.21</c:v>
                </c:pt>
                <c:pt idx="8">
                  <c:v>11.01.21</c:v>
                </c:pt>
                <c:pt idx="9">
                  <c:v>12.01.21</c:v>
                </c:pt>
                <c:pt idx="10">
                  <c:v>13.01.21</c:v>
                </c:pt>
                <c:pt idx="11">
                  <c:v>14.01.21</c:v>
                </c:pt>
                <c:pt idx="12">
                  <c:v>15.01.21</c:v>
                </c:pt>
                <c:pt idx="13">
                  <c:v>16.01.21</c:v>
                </c:pt>
                <c:pt idx="14">
                  <c:v>17.01.21</c:v>
                </c:pt>
                <c:pt idx="15">
                  <c:v>18.01.21</c:v>
                </c:pt>
                <c:pt idx="16">
                  <c:v>19.01.21</c:v>
                </c:pt>
                <c:pt idx="17">
                  <c:v>20.01.21</c:v>
                </c:pt>
                <c:pt idx="18">
                  <c:v>21.01.21</c:v>
                </c:pt>
                <c:pt idx="19">
                  <c:v>22.01.21</c:v>
                </c:pt>
                <c:pt idx="20">
                  <c:v>23.01.21</c:v>
                </c:pt>
                <c:pt idx="21">
                  <c:v>24.01.21</c:v>
                </c:pt>
                <c:pt idx="22">
                  <c:v>25.01.21</c:v>
                </c:pt>
                <c:pt idx="23">
                  <c:v>26.01.21</c:v>
                </c:pt>
                <c:pt idx="24">
                  <c:v>27.01.21</c:v>
                </c:pt>
                <c:pt idx="25">
                  <c:v>28.01.21</c:v>
                </c:pt>
                <c:pt idx="26">
                  <c:v>29.01.21</c:v>
                </c:pt>
                <c:pt idx="27">
                  <c:v>30.01.21</c:v>
                </c:pt>
                <c:pt idx="28">
                  <c:v>31.01.21</c:v>
                </c:pt>
                <c:pt idx="29">
                  <c:v>01.02.21</c:v>
                </c:pt>
                <c:pt idx="30">
                  <c:v>02.02.21</c:v>
                </c:pt>
                <c:pt idx="31">
                  <c:v>03.02.21</c:v>
                </c:pt>
                <c:pt idx="32">
                  <c:v>04.02.21</c:v>
                </c:pt>
                <c:pt idx="33">
                  <c:v>05.02.21</c:v>
                </c:pt>
                <c:pt idx="34">
                  <c:v>06.02.21</c:v>
                </c:pt>
                <c:pt idx="35">
                  <c:v>07.02.21</c:v>
                </c:pt>
                <c:pt idx="36">
                  <c:v>08.02.21</c:v>
                </c:pt>
                <c:pt idx="37">
                  <c:v>09.02.21</c:v>
                </c:pt>
                <c:pt idx="38">
                  <c:v>10.02.21</c:v>
                </c:pt>
                <c:pt idx="39">
                  <c:v>11.02.21</c:v>
                </c:pt>
                <c:pt idx="40">
                  <c:v>12.02.21</c:v>
                </c:pt>
                <c:pt idx="41">
                  <c:v>13.02.21</c:v>
                </c:pt>
                <c:pt idx="42">
                  <c:v>14.02.21</c:v>
                </c:pt>
                <c:pt idx="43">
                  <c:v>15.02.21</c:v>
                </c:pt>
                <c:pt idx="44">
                  <c:v>16.02.21</c:v>
                </c:pt>
                <c:pt idx="45">
                  <c:v>17.02.21</c:v>
                </c:pt>
                <c:pt idx="46">
                  <c:v>18.02.21</c:v>
                </c:pt>
                <c:pt idx="47">
                  <c:v>19.02.21</c:v>
                </c:pt>
                <c:pt idx="48">
                  <c:v>20.02.21</c:v>
                </c:pt>
                <c:pt idx="49">
                  <c:v>21.02.21</c:v>
                </c:pt>
                <c:pt idx="50">
                  <c:v>22.02.21</c:v>
                </c:pt>
                <c:pt idx="51">
                  <c:v>23.02.21</c:v>
                </c:pt>
                <c:pt idx="52">
                  <c:v>24.02.21</c:v>
                </c:pt>
                <c:pt idx="53">
                  <c:v>25.02.21</c:v>
                </c:pt>
                <c:pt idx="54">
                  <c:v>26.02.21</c:v>
                </c:pt>
                <c:pt idx="55">
                  <c:v>27.02.21</c:v>
                </c:pt>
                <c:pt idx="56">
                  <c:v>28.02.21</c:v>
                </c:pt>
                <c:pt idx="57">
                  <c:v>01.03.21</c:v>
                </c:pt>
                <c:pt idx="58">
                  <c:v>02.03.21</c:v>
                </c:pt>
                <c:pt idx="59">
                  <c:v>03.03.21</c:v>
                </c:pt>
                <c:pt idx="60">
                  <c:v>04.03.21</c:v>
                </c:pt>
                <c:pt idx="61">
                  <c:v>05.03.21</c:v>
                </c:pt>
                <c:pt idx="62">
                  <c:v>06.03.21</c:v>
                </c:pt>
                <c:pt idx="63">
                  <c:v>07.03.21</c:v>
                </c:pt>
                <c:pt idx="64">
                  <c:v>08.03.21</c:v>
                </c:pt>
                <c:pt idx="65">
                  <c:v>09.03.21</c:v>
                </c:pt>
                <c:pt idx="66">
                  <c:v>10.03.21</c:v>
                </c:pt>
                <c:pt idx="67">
                  <c:v>11.03.21</c:v>
                </c:pt>
                <c:pt idx="68">
                  <c:v>12.03.21</c:v>
                </c:pt>
                <c:pt idx="69">
                  <c:v>13.03.21</c:v>
                </c:pt>
                <c:pt idx="70">
                  <c:v>14.03.21</c:v>
                </c:pt>
                <c:pt idx="71">
                  <c:v>15.03.21</c:v>
                </c:pt>
                <c:pt idx="72">
                  <c:v>16.03.21</c:v>
                </c:pt>
                <c:pt idx="73">
                  <c:v>17.03.21</c:v>
                </c:pt>
                <c:pt idx="74">
                  <c:v>18.03.21</c:v>
                </c:pt>
                <c:pt idx="75">
                  <c:v>19.03.21</c:v>
                </c:pt>
                <c:pt idx="76">
                  <c:v>20.03.21</c:v>
                </c:pt>
                <c:pt idx="77">
                  <c:v>21.03.21</c:v>
                </c:pt>
                <c:pt idx="78">
                  <c:v>22.03.21</c:v>
                </c:pt>
                <c:pt idx="79">
                  <c:v>23.03.21</c:v>
                </c:pt>
                <c:pt idx="80">
                  <c:v>24.03.21</c:v>
                </c:pt>
                <c:pt idx="81">
                  <c:v>25.03.21</c:v>
                </c:pt>
                <c:pt idx="82">
                  <c:v>26.03.21</c:v>
                </c:pt>
                <c:pt idx="83">
                  <c:v>27.03.21</c:v>
                </c:pt>
                <c:pt idx="84">
                  <c:v>28.03.21</c:v>
                </c:pt>
                <c:pt idx="85">
                  <c:v>29.03.21</c:v>
                </c:pt>
                <c:pt idx="86">
                  <c:v>30.03.21</c:v>
                </c:pt>
                <c:pt idx="87">
                  <c:v>31.03.21</c:v>
                </c:pt>
                <c:pt idx="88">
                  <c:v>01.04.21</c:v>
                </c:pt>
                <c:pt idx="89">
                  <c:v>02.04.21</c:v>
                </c:pt>
                <c:pt idx="90">
                  <c:v>03.04.21</c:v>
                </c:pt>
                <c:pt idx="91">
                  <c:v>04.04.21</c:v>
                </c:pt>
                <c:pt idx="92">
                  <c:v>05.04.21</c:v>
                </c:pt>
                <c:pt idx="93">
                  <c:v>06.04.21</c:v>
                </c:pt>
                <c:pt idx="94">
                  <c:v>07.04.21</c:v>
                </c:pt>
                <c:pt idx="95">
                  <c:v>08.04.21</c:v>
                </c:pt>
                <c:pt idx="96">
                  <c:v>09.04.21</c:v>
                </c:pt>
                <c:pt idx="97">
                  <c:v>10.04.21</c:v>
                </c:pt>
                <c:pt idx="98">
                  <c:v>11.04.21</c:v>
                </c:pt>
                <c:pt idx="99">
                  <c:v>12.04.21</c:v>
                </c:pt>
                <c:pt idx="100">
                  <c:v>13.04.21</c:v>
                </c:pt>
                <c:pt idx="101">
                  <c:v>14.04.21</c:v>
                </c:pt>
                <c:pt idx="102">
                  <c:v>15.04.21</c:v>
                </c:pt>
                <c:pt idx="103">
                  <c:v>16.04.21</c:v>
                </c:pt>
                <c:pt idx="104">
                  <c:v>17.04.21</c:v>
                </c:pt>
                <c:pt idx="105">
                  <c:v>18.04.21</c:v>
                </c:pt>
                <c:pt idx="106">
                  <c:v>19.04.21</c:v>
                </c:pt>
                <c:pt idx="107">
                  <c:v>20.04.21</c:v>
                </c:pt>
                <c:pt idx="108">
                  <c:v>21.04.21</c:v>
                </c:pt>
                <c:pt idx="109">
                  <c:v>22.04.21</c:v>
                </c:pt>
                <c:pt idx="110">
                  <c:v>23.04.21</c:v>
                </c:pt>
                <c:pt idx="111">
                  <c:v>24.04.21</c:v>
                </c:pt>
                <c:pt idx="112">
                  <c:v>25.04.21</c:v>
                </c:pt>
                <c:pt idx="113">
                  <c:v>26.04.21</c:v>
                </c:pt>
                <c:pt idx="114">
                  <c:v>27.04.21</c:v>
                </c:pt>
                <c:pt idx="115">
                  <c:v>28.04.21</c:v>
                </c:pt>
                <c:pt idx="116">
                  <c:v>29.04.21</c:v>
                </c:pt>
                <c:pt idx="117">
                  <c:v>30.04.21</c:v>
                </c:pt>
                <c:pt idx="118">
                  <c:v>01.05.21</c:v>
                </c:pt>
                <c:pt idx="119">
                  <c:v>02.05.21</c:v>
                </c:pt>
                <c:pt idx="120">
                  <c:v>03.05.21</c:v>
                </c:pt>
                <c:pt idx="121">
                  <c:v>04.05.21</c:v>
                </c:pt>
                <c:pt idx="122">
                  <c:v>05.05.21</c:v>
                </c:pt>
                <c:pt idx="123">
                  <c:v>06.05.21</c:v>
                </c:pt>
                <c:pt idx="124">
                  <c:v>07.05.21</c:v>
                </c:pt>
                <c:pt idx="125">
                  <c:v>08.05.21</c:v>
                </c:pt>
                <c:pt idx="126">
                  <c:v>09.05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836</c:v>
                </c:pt>
                <c:pt idx="1">
                  <c:v>953</c:v>
                </c:pt>
                <c:pt idx="2">
                  <c:v>1021</c:v>
                </c:pt>
                <c:pt idx="3">
                  <c:v>1045</c:v>
                </c:pt>
                <c:pt idx="4">
                  <c:v>945</c:v>
                </c:pt>
                <c:pt idx="5">
                  <c:v>910</c:v>
                </c:pt>
                <c:pt idx="6">
                  <c:v>860</c:v>
                </c:pt>
                <c:pt idx="7">
                  <c:v>800</c:v>
                </c:pt>
                <c:pt idx="8">
                  <c:v>838</c:v>
                </c:pt>
                <c:pt idx="9">
                  <c:v>847</c:v>
                </c:pt>
                <c:pt idx="10">
                  <c:v>853</c:v>
                </c:pt>
                <c:pt idx="11">
                  <c:v>724</c:v>
                </c:pt>
                <c:pt idx="12">
                  <c:v>678</c:v>
                </c:pt>
                <c:pt idx="13">
                  <c:v>633</c:v>
                </c:pt>
                <c:pt idx="14">
                  <c:v>578</c:v>
                </c:pt>
                <c:pt idx="15">
                  <c:v>569</c:v>
                </c:pt>
                <c:pt idx="16">
                  <c:v>587</c:v>
                </c:pt>
                <c:pt idx="17">
                  <c:v>605</c:v>
                </c:pt>
                <c:pt idx="18">
                  <c:v>565</c:v>
                </c:pt>
                <c:pt idx="19">
                  <c:v>565</c:v>
                </c:pt>
                <c:pt idx="20">
                  <c:v>513</c:v>
                </c:pt>
                <c:pt idx="21">
                  <c:v>471</c:v>
                </c:pt>
                <c:pt idx="22">
                  <c:v>440</c:v>
                </c:pt>
                <c:pt idx="23">
                  <c:v>453</c:v>
                </c:pt>
                <c:pt idx="24">
                  <c:v>470</c:v>
                </c:pt>
                <c:pt idx="25">
                  <c:v>427</c:v>
                </c:pt>
                <c:pt idx="26">
                  <c:v>402</c:v>
                </c:pt>
                <c:pt idx="27">
                  <c:v>364</c:v>
                </c:pt>
                <c:pt idx="28">
                  <c:v>343</c:v>
                </c:pt>
                <c:pt idx="29">
                  <c:v>315</c:v>
                </c:pt>
                <c:pt idx="30">
                  <c:v>330</c:v>
                </c:pt>
                <c:pt idx="31">
                  <c:v>347</c:v>
                </c:pt>
                <c:pt idx="32">
                  <c:v>334</c:v>
                </c:pt>
                <c:pt idx="33">
                  <c:v>313</c:v>
                </c:pt>
                <c:pt idx="34">
                  <c:v>288</c:v>
                </c:pt>
                <c:pt idx="35">
                  <c:v>271</c:v>
                </c:pt>
                <c:pt idx="36">
                  <c:v>245</c:v>
                </c:pt>
                <c:pt idx="37">
                  <c:v>252</c:v>
                </c:pt>
                <c:pt idx="38">
                  <c:v>267</c:v>
                </c:pt>
                <c:pt idx="39">
                  <c:v>244</c:v>
                </c:pt>
                <c:pt idx="40">
                  <c:v>242</c:v>
                </c:pt>
                <c:pt idx="41">
                  <c:v>224</c:v>
                </c:pt>
                <c:pt idx="42">
                  <c:v>197</c:v>
                </c:pt>
                <c:pt idx="43">
                  <c:v>196</c:v>
                </c:pt>
                <c:pt idx="44">
                  <c:v>216</c:v>
                </c:pt>
                <c:pt idx="45">
                  <c:v>214</c:v>
                </c:pt>
                <c:pt idx="46">
                  <c:v>218</c:v>
                </c:pt>
                <c:pt idx="47">
                  <c:v>218</c:v>
                </c:pt>
                <c:pt idx="48">
                  <c:v>202</c:v>
                </c:pt>
                <c:pt idx="49">
                  <c:v>181</c:v>
                </c:pt>
                <c:pt idx="50">
                  <c:v>192</c:v>
                </c:pt>
                <c:pt idx="51">
                  <c:v>211</c:v>
                </c:pt>
                <c:pt idx="52">
                  <c:v>224</c:v>
                </c:pt>
                <c:pt idx="53">
                  <c:v>241</c:v>
                </c:pt>
                <c:pt idx="54">
                  <c:v>248</c:v>
                </c:pt>
                <c:pt idx="55">
                  <c:v>254</c:v>
                </c:pt>
                <c:pt idx="56">
                  <c:v>249</c:v>
                </c:pt>
                <c:pt idx="57">
                  <c:v>260</c:v>
                </c:pt>
                <c:pt idx="58">
                  <c:v>286</c:v>
                </c:pt>
                <c:pt idx="59">
                  <c:v>309</c:v>
                </c:pt>
                <c:pt idx="60">
                  <c:v>293</c:v>
                </c:pt>
                <c:pt idx="61">
                  <c:v>292</c:v>
                </c:pt>
                <c:pt idx="62">
                  <c:v>274</c:v>
                </c:pt>
                <c:pt idx="63">
                  <c:v>254</c:v>
                </c:pt>
                <c:pt idx="64">
                  <c:v>234</c:v>
                </c:pt>
                <c:pt idx="65">
                  <c:v>237</c:v>
                </c:pt>
                <c:pt idx="66">
                  <c:v>241</c:v>
                </c:pt>
                <c:pt idx="67">
                  <c:v>245</c:v>
                </c:pt>
                <c:pt idx="68">
                  <c:v>260</c:v>
                </c:pt>
                <c:pt idx="69">
                  <c:v>271</c:v>
                </c:pt>
                <c:pt idx="70">
                  <c:v>278</c:v>
                </c:pt>
                <c:pt idx="71">
                  <c:v>265</c:v>
                </c:pt>
                <c:pt idx="72">
                  <c:v>254</c:v>
                </c:pt>
                <c:pt idx="73">
                  <c:v>239</c:v>
                </c:pt>
                <c:pt idx="74">
                  <c:v>235</c:v>
                </c:pt>
                <c:pt idx="75">
                  <c:v>225</c:v>
                </c:pt>
                <c:pt idx="76">
                  <c:v>222</c:v>
                </c:pt>
                <c:pt idx="77">
                  <c:v>220</c:v>
                </c:pt>
                <c:pt idx="78">
                  <c:v>201</c:v>
                </c:pt>
                <c:pt idx="79">
                  <c:v>194</c:v>
                </c:pt>
                <c:pt idx="80">
                  <c:v>186</c:v>
                </c:pt>
                <c:pt idx="81">
                  <c:v>183</c:v>
                </c:pt>
                <c:pt idx="82">
                  <c:v>179</c:v>
                </c:pt>
                <c:pt idx="83">
                  <c:v>180</c:v>
                </c:pt>
                <c:pt idx="84">
                  <c:v>174</c:v>
                </c:pt>
                <c:pt idx="85">
                  <c:v>161</c:v>
                </c:pt>
                <c:pt idx="86">
                  <c:v>143</c:v>
                </c:pt>
                <c:pt idx="87">
                  <c:v>140</c:v>
                </c:pt>
                <c:pt idx="88">
                  <c:v>130</c:v>
                </c:pt>
                <c:pt idx="89">
                  <c:v>127</c:v>
                </c:pt>
                <c:pt idx="90">
                  <c:v>125</c:v>
                </c:pt>
                <c:pt idx="91">
                  <c:v>121</c:v>
                </c:pt>
                <c:pt idx="92">
                  <c:v>116</c:v>
                </c:pt>
                <c:pt idx="93">
                  <c:v>112</c:v>
                </c:pt>
                <c:pt idx="94">
                  <c:v>106</c:v>
                </c:pt>
                <c:pt idx="95">
                  <c:v>99</c:v>
                </c:pt>
                <c:pt idx="96">
                  <c:v>92</c:v>
                </c:pt>
                <c:pt idx="97">
                  <c:v>87</c:v>
                </c:pt>
                <c:pt idx="98">
                  <c:v>88</c:v>
                </c:pt>
                <c:pt idx="99">
                  <c:v>76</c:v>
                </c:pt>
                <c:pt idx="100">
                  <c:v>72</c:v>
                </c:pt>
                <c:pt idx="101">
                  <c:v>75</c:v>
                </c:pt>
                <c:pt idx="102">
                  <c:v>72</c:v>
                </c:pt>
                <c:pt idx="103">
                  <c:v>69</c:v>
                </c:pt>
                <c:pt idx="104">
                  <c:v>70</c:v>
                </c:pt>
                <c:pt idx="105">
                  <c:v>68</c:v>
                </c:pt>
                <c:pt idx="106">
                  <c:v>70</c:v>
                </c:pt>
                <c:pt idx="107">
                  <c:v>65</c:v>
                </c:pt>
                <c:pt idx="108">
                  <c:v>71</c:v>
                </c:pt>
                <c:pt idx="109">
                  <c:v>66</c:v>
                </c:pt>
                <c:pt idx="110">
                  <c:v>68</c:v>
                </c:pt>
                <c:pt idx="111">
                  <c:v>69</c:v>
                </c:pt>
                <c:pt idx="112">
                  <c:v>67</c:v>
                </c:pt>
                <c:pt idx="113">
                  <c:v>65</c:v>
                </c:pt>
                <c:pt idx="114">
                  <c:v>61</c:v>
                </c:pt>
                <c:pt idx="115">
                  <c:v>61</c:v>
                </c:pt>
                <c:pt idx="116">
                  <c:v>65</c:v>
                </c:pt>
                <c:pt idx="117">
                  <c:v>64</c:v>
                </c:pt>
                <c:pt idx="118">
                  <c:v>62</c:v>
                </c:pt>
                <c:pt idx="119">
                  <c:v>62</c:v>
                </c:pt>
                <c:pt idx="120">
                  <c:v>57</c:v>
                </c:pt>
                <c:pt idx="121">
                  <c:v>56</c:v>
                </c:pt>
                <c:pt idx="122">
                  <c:v>54</c:v>
                </c:pt>
                <c:pt idx="123">
                  <c:v>54</c:v>
                </c:pt>
                <c:pt idx="124">
                  <c:v>54</c:v>
                </c:pt>
                <c:pt idx="125">
                  <c:v>55</c:v>
                </c:pt>
                <c:pt idx="126">
                  <c:v>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7.4143274463573408E-8"/>
                  <c:y val="5.9627491094792163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95385885184117"/>
                      <c:h val="7.6623856921761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3.01.21</c:v>
                </c:pt>
                <c:pt idx="1">
                  <c:v>04.01.21</c:v>
                </c:pt>
                <c:pt idx="2">
                  <c:v>05.01.21</c:v>
                </c:pt>
                <c:pt idx="3">
                  <c:v>06.01.21</c:v>
                </c:pt>
                <c:pt idx="4">
                  <c:v>07.01.21</c:v>
                </c:pt>
                <c:pt idx="5">
                  <c:v>08.01.21</c:v>
                </c:pt>
                <c:pt idx="6">
                  <c:v>09.01.21</c:v>
                </c:pt>
                <c:pt idx="7">
                  <c:v>10.01.21</c:v>
                </c:pt>
                <c:pt idx="8">
                  <c:v>11.01.21</c:v>
                </c:pt>
                <c:pt idx="9">
                  <c:v>12.01.21</c:v>
                </c:pt>
                <c:pt idx="10">
                  <c:v>13.01.21</c:v>
                </c:pt>
                <c:pt idx="11">
                  <c:v>14.01.21</c:v>
                </c:pt>
                <c:pt idx="12">
                  <c:v>15.01.21</c:v>
                </c:pt>
                <c:pt idx="13">
                  <c:v>16.01.21</c:v>
                </c:pt>
                <c:pt idx="14">
                  <c:v>17.01.21</c:v>
                </c:pt>
                <c:pt idx="15">
                  <c:v>18.01.21</c:v>
                </c:pt>
                <c:pt idx="16">
                  <c:v>19.01.21</c:v>
                </c:pt>
                <c:pt idx="17">
                  <c:v>20.01.21</c:v>
                </c:pt>
                <c:pt idx="18">
                  <c:v>21.01.21</c:v>
                </c:pt>
                <c:pt idx="19">
                  <c:v>22.01.21</c:v>
                </c:pt>
                <c:pt idx="20">
                  <c:v>23.01.21</c:v>
                </c:pt>
                <c:pt idx="21">
                  <c:v>24.01.21</c:v>
                </c:pt>
                <c:pt idx="22">
                  <c:v>25.01.21</c:v>
                </c:pt>
                <c:pt idx="23">
                  <c:v>26.01.21</c:v>
                </c:pt>
                <c:pt idx="24">
                  <c:v>27.01.21</c:v>
                </c:pt>
                <c:pt idx="25">
                  <c:v>28.01.21</c:v>
                </c:pt>
                <c:pt idx="26">
                  <c:v>29.01.21</c:v>
                </c:pt>
                <c:pt idx="27">
                  <c:v>30.01.21</c:v>
                </c:pt>
                <c:pt idx="28">
                  <c:v>31.01.21</c:v>
                </c:pt>
                <c:pt idx="29">
                  <c:v>01.02.21</c:v>
                </c:pt>
                <c:pt idx="30">
                  <c:v>02.02.21</c:v>
                </c:pt>
                <c:pt idx="31">
                  <c:v>03.02.21</c:v>
                </c:pt>
                <c:pt idx="32">
                  <c:v>04.02.21</c:v>
                </c:pt>
                <c:pt idx="33">
                  <c:v>05.02.21</c:v>
                </c:pt>
                <c:pt idx="34">
                  <c:v>06.02.21</c:v>
                </c:pt>
                <c:pt idx="35">
                  <c:v>07.02.21</c:v>
                </c:pt>
                <c:pt idx="36">
                  <c:v>08.02.21</c:v>
                </c:pt>
                <c:pt idx="37">
                  <c:v>09.02.21</c:v>
                </c:pt>
                <c:pt idx="38">
                  <c:v>10.02.21</c:v>
                </c:pt>
                <c:pt idx="39">
                  <c:v>11.02.21</c:v>
                </c:pt>
                <c:pt idx="40">
                  <c:v>12.02.21</c:v>
                </c:pt>
                <c:pt idx="41">
                  <c:v>13.02.21</c:v>
                </c:pt>
                <c:pt idx="42">
                  <c:v>14.02.21</c:v>
                </c:pt>
                <c:pt idx="43">
                  <c:v>15.02.21</c:v>
                </c:pt>
                <c:pt idx="44">
                  <c:v>16.02.21</c:v>
                </c:pt>
                <c:pt idx="45">
                  <c:v>17.02.21</c:v>
                </c:pt>
                <c:pt idx="46">
                  <c:v>18.02.21</c:v>
                </c:pt>
                <c:pt idx="47">
                  <c:v>19.02.21</c:v>
                </c:pt>
                <c:pt idx="48">
                  <c:v>20.02.21</c:v>
                </c:pt>
                <c:pt idx="49">
                  <c:v>21.02.21</c:v>
                </c:pt>
                <c:pt idx="50">
                  <c:v>22.02.21</c:v>
                </c:pt>
                <c:pt idx="51">
                  <c:v>23.02.21</c:v>
                </c:pt>
                <c:pt idx="52">
                  <c:v>24.02.21</c:v>
                </c:pt>
                <c:pt idx="53">
                  <c:v>25.02.21</c:v>
                </c:pt>
                <c:pt idx="54">
                  <c:v>26.02.21</c:v>
                </c:pt>
                <c:pt idx="55">
                  <c:v>27.02.21</c:v>
                </c:pt>
                <c:pt idx="56">
                  <c:v>28.02.21</c:v>
                </c:pt>
                <c:pt idx="57">
                  <c:v>01.03.21</c:v>
                </c:pt>
                <c:pt idx="58">
                  <c:v>02.03.21</c:v>
                </c:pt>
                <c:pt idx="59">
                  <c:v>03.03.21</c:v>
                </c:pt>
                <c:pt idx="60">
                  <c:v>04.03.21</c:v>
                </c:pt>
                <c:pt idx="61">
                  <c:v>05.03.21</c:v>
                </c:pt>
                <c:pt idx="62">
                  <c:v>06.03.21</c:v>
                </c:pt>
                <c:pt idx="63">
                  <c:v>07.03.21</c:v>
                </c:pt>
                <c:pt idx="64">
                  <c:v>08.03.21</c:v>
                </c:pt>
                <c:pt idx="65">
                  <c:v>09.03.21</c:v>
                </c:pt>
                <c:pt idx="66">
                  <c:v>10.03.21</c:v>
                </c:pt>
                <c:pt idx="67">
                  <c:v>11.03.21</c:v>
                </c:pt>
                <c:pt idx="68">
                  <c:v>12.03.21</c:v>
                </c:pt>
                <c:pt idx="69">
                  <c:v>13.03.21</c:v>
                </c:pt>
                <c:pt idx="70">
                  <c:v>14.03.21</c:v>
                </c:pt>
                <c:pt idx="71">
                  <c:v>15.03.21</c:v>
                </c:pt>
                <c:pt idx="72">
                  <c:v>16.03.21</c:v>
                </c:pt>
                <c:pt idx="73">
                  <c:v>17.03.21</c:v>
                </c:pt>
                <c:pt idx="74">
                  <c:v>18.03.21</c:v>
                </c:pt>
                <c:pt idx="75">
                  <c:v>19.03.21</c:v>
                </c:pt>
                <c:pt idx="76">
                  <c:v>20.03.21</c:v>
                </c:pt>
                <c:pt idx="77">
                  <c:v>21.03.21</c:v>
                </c:pt>
                <c:pt idx="78">
                  <c:v>22.03.21</c:v>
                </c:pt>
                <c:pt idx="79">
                  <c:v>23.03.21</c:v>
                </c:pt>
                <c:pt idx="80">
                  <c:v>24.03.21</c:v>
                </c:pt>
                <c:pt idx="81">
                  <c:v>25.03.21</c:v>
                </c:pt>
                <c:pt idx="82">
                  <c:v>26.03.21</c:v>
                </c:pt>
                <c:pt idx="83">
                  <c:v>27.03.21</c:v>
                </c:pt>
                <c:pt idx="84">
                  <c:v>28.03.21</c:v>
                </c:pt>
                <c:pt idx="85">
                  <c:v>29.03.21</c:v>
                </c:pt>
                <c:pt idx="86">
                  <c:v>30.03.21</c:v>
                </c:pt>
                <c:pt idx="87">
                  <c:v>31.03.21</c:v>
                </c:pt>
                <c:pt idx="88">
                  <c:v>01.04.21</c:v>
                </c:pt>
                <c:pt idx="89">
                  <c:v>02.04.21</c:v>
                </c:pt>
                <c:pt idx="90">
                  <c:v>03.04.21</c:v>
                </c:pt>
                <c:pt idx="91">
                  <c:v>04.04.21</c:v>
                </c:pt>
                <c:pt idx="92">
                  <c:v>05.04.21</c:v>
                </c:pt>
                <c:pt idx="93">
                  <c:v>06.04.21</c:v>
                </c:pt>
                <c:pt idx="94">
                  <c:v>07.04.21</c:v>
                </c:pt>
                <c:pt idx="95">
                  <c:v>08.04.21</c:v>
                </c:pt>
                <c:pt idx="96">
                  <c:v>09.04.21</c:v>
                </c:pt>
                <c:pt idx="97">
                  <c:v>10.04.21</c:v>
                </c:pt>
                <c:pt idx="98">
                  <c:v>11.04.21</c:v>
                </c:pt>
                <c:pt idx="99">
                  <c:v>12.04.21</c:v>
                </c:pt>
                <c:pt idx="100">
                  <c:v>13.04.21</c:v>
                </c:pt>
                <c:pt idx="101">
                  <c:v>14.04.21</c:v>
                </c:pt>
                <c:pt idx="102">
                  <c:v>15.04.21</c:v>
                </c:pt>
                <c:pt idx="103">
                  <c:v>16.04.21</c:v>
                </c:pt>
                <c:pt idx="104">
                  <c:v>17.04.21</c:v>
                </c:pt>
                <c:pt idx="105">
                  <c:v>18.04.21</c:v>
                </c:pt>
                <c:pt idx="106">
                  <c:v>19.04.21</c:v>
                </c:pt>
                <c:pt idx="107">
                  <c:v>20.04.21</c:v>
                </c:pt>
                <c:pt idx="108">
                  <c:v>21.04.21</c:v>
                </c:pt>
                <c:pt idx="109">
                  <c:v>22.04.21</c:v>
                </c:pt>
                <c:pt idx="110">
                  <c:v>23.04.21</c:v>
                </c:pt>
                <c:pt idx="111">
                  <c:v>24.04.21</c:v>
                </c:pt>
                <c:pt idx="112">
                  <c:v>25.04.21</c:v>
                </c:pt>
                <c:pt idx="113">
                  <c:v>26.04.21</c:v>
                </c:pt>
                <c:pt idx="114">
                  <c:v>27.04.21</c:v>
                </c:pt>
                <c:pt idx="115">
                  <c:v>28.04.21</c:v>
                </c:pt>
                <c:pt idx="116">
                  <c:v>29.04.21</c:v>
                </c:pt>
                <c:pt idx="117">
                  <c:v>30.04.21</c:v>
                </c:pt>
                <c:pt idx="118">
                  <c:v>01.05.21</c:v>
                </c:pt>
                <c:pt idx="119">
                  <c:v>02.05.21</c:v>
                </c:pt>
                <c:pt idx="120">
                  <c:v>03.05.21</c:v>
                </c:pt>
                <c:pt idx="121">
                  <c:v>04.05.21</c:v>
                </c:pt>
                <c:pt idx="122">
                  <c:v>05.05.21</c:v>
                </c:pt>
                <c:pt idx="123">
                  <c:v>06.05.21</c:v>
                </c:pt>
                <c:pt idx="124">
                  <c:v>07.05.21</c:v>
                </c:pt>
                <c:pt idx="125">
                  <c:v>08.05.21</c:v>
                </c:pt>
                <c:pt idx="126">
                  <c:v>09.05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2009</c:v>
                </c:pt>
                <c:pt idx="1">
                  <c:v>2300</c:v>
                </c:pt>
                <c:pt idx="2">
                  <c:v>2556</c:v>
                </c:pt>
                <c:pt idx="3">
                  <c:v>2760</c:v>
                </c:pt>
                <c:pt idx="4">
                  <c:v>2631</c:v>
                </c:pt>
                <c:pt idx="5">
                  <c:v>2496</c:v>
                </c:pt>
                <c:pt idx="6">
                  <c:v>2292</c:v>
                </c:pt>
                <c:pt idx="7">
                  <c:v>2136</c:v>
                </c:pt>
                <c:pt idx="8">
                  <c:v>2343</c:v>
                </c:pt>
                <c:pt idx="9">
                  <c:v>2425</c:v>
                </c:pt>
                <c:pt idx="10">
                  <c:v>2456</c:v>
                </c:pt>
                <c:pt idx="11">
                  <c:v>2149</c:v>
                </c:pt>
                <c:pt idx="12">
                  <c:v>1987</c:v>
                </c:pt>
                <c:pt idx="13">
                  <c:v>1786</c:v>
                </c:pt>
                <c:pt idx="14">
                  <c:v>1586</c:v>
                </c:pt>
                <c:pt idx="15">
                  <c:v>1524</c:v>
                </c:pt>
                <c:pt idx="16">
                  <c:v>1651</c:v>
                </c:pt>
                <c:pt idx="17">
                  <c:v>1750</c:v>
                </c:pt>
                <c:pt idx="18">
                  <c:v>1567</c:v>
                </c:pt>
                <c:pt idx="19">
                  <c:v>1493</c:v>
                </c:pt>
                <c:pt idx="20">
                  <c:v>1365</c:v>
                </c:pt>
                <c:pt idx="21">
                  <c:v>1254</c:v>
                </c:pt>
                <c:pt idx="22">
                  <c:v>1208</c:v>
                </c:pt>
                <c:pt idx="23">
                  <c:v>1313</c:v>
                </c:pt>
                <c:pt idx="24">
                  <c:v>1371</c:v>
                </c:pt>
                <c:pt idx="25">
                  <c:v>1273</c:v>
                </c:pt>
                <c:pt idx="26">
                  <c:v>1190</c:v>
                </c:pt>
                <c:pt idx="27">
                  <c:v>1078</c:v>
                </c:pt>
                <c:pt idx="28">
                  <c:v>975</c:v>
                </c:pt>
                <c:pt idx="29">
                  <c:v>958</c:v>
                </c:pt>
                <c:pt idx="30">
                  <c:v>1024</c:v>
                </c:pt>
                <c:pt idx="31">
                  <c:v>1100</c:v>
                </c:pt>
                <c:pt idx="32">
                  <c:v>1011</c:v>
                </c:pt>
                <c:pt idx="33">
                  <c:v>969</c:v>
                </c:pt>
                <c:pt idx="34">
                  <c:v>914</c:v>
                </c:pt>
                <c:pt idx="35">
                  <c:v>833</c:v>
                </c:pt>
                <c:pt idx="36">
                  <c:v>840</c:v>
                </c:pt>
                <c:pt idx="37">
                  <c:v>913</c:v>
                </c:pt>
                <c:pt idx="38">
                  <c:v>980</c:v>
                </c:pt>
                <c:pt idx="39">
                  <c:v>931</c:v>
                </c:pt>
                <c:pt idx="40">
                  <c:v>922</c:v>
                </c:pt>
                <c:pt idx="41">
                  <c:v>859</c:v>
                </c:pt>
                <c:pt idx="42">
                  <c:v>785</c:v>
                </c:pt>
                <c:pt idx="43">
                  <c:v>801</c:v>
                </c:pt>
                <c:pt idx="44">
                  <c:v>879</c:v>
                </c:pt>
                <c:pt idx="45">
                  <c:v>958</c:v>
                </c:pt>
                <c:pt idx="46">
                  <c:v>918</c:v>
                </c:pt>
                <c:pt idx="47">
                  <c:v>943</c:v>
                </c:pt>
                <c:pt idx="48">
                  <c:v>912</c:v>
                </c:pt>
                <c:pt idx="49">
                  <c:v>843</c:v>
                </c:pt>
                <c:pt idx="50">
                  <c:v>874</c:v>
                </c:pt>
                <c:pt idx="51">
                  <c:v>990</c:v>
                </c:pt>
                <c:pt idx="52">
                  <c:v>1080</c:v>
                </c:pt>
                <c:pt idx="53">
                  <c:v>1068</c:v>
                </c:pt>
                <c:pt idx="54">
                  <c:v>1099</c:v>
                </c:pt>
                <c:pt idx="55">
                  <c:v>1077</c:v>
                </c:pt>
                <c:pt idx="56">
                  <c:v>1006</c:v>
                </c:pt>
                <c:pt idx="57">
                  <c:v>997</c:v>
                </c:pt>
                <c:pt idx="58">
                  <c:v>1089</c:v>
                </c:pt>
                <c:pt idx="59">
                  <c:v>1170</c:v>
                </c:pt>
                <c:pt idx="60">
                  <c:v>1114</c:v>
                </c:pt>
                <c:pt idx="61">
                  <c:v>1097</c:v>
                </c:pt>
                <c:pt idx="62">
                  <c:v>1033</c:v>
                </c:pt>
                <c:pt idx="63">
                  <c:v>963</c:v>
                </c:pt>
                <c:pt idx="64">
                  <c:v>932</c:v>
                </c:pt>
                <c:pt idx="65">
                  <c:v>993</c:v>
                </c:pt>
                <c:pt idx="66">
                  <c:v>1051</c:v>
                </c:pt>
                <c:pt idx="67">
                  <c:v>1135</c:v>
                </c:pt>
                <c:pt idx="68">
                  <c:v>1242</c:v>
                </c:pt>
                <c:pt idx="69">
                  <c:v>1288</c:v>
                </c:pt>
                <c:pt idx="70">
                  <c:v>1317</c:v>
                </c:pt>
                <c:pt idx="71">
                  <c:v>1268</c:v>
                </c:pt>
                <c:pt idx="72">
                  <c:v>1232</c:v>
                </c:pt>
                <c:pt idx="73">
                  <c:v>1207</c:v>
                </c:pt>
                <c:pt idx="74">
                  <c:v>1180</c:v>
                </c:pt>
                <c:pt idx="75">
                  <c:v>1149</c:v>
                </c:pt>
                <c:pt idx="76">
                  <c:v>1136</c:v>
                </c:pt>
                <c:pt idx="77">
                  <c:v>1122</c:v>
                </c:pt>
                <c:pt idx="78">
                  <c:v>1079</c:v>
                </c:pt>
                <c:pt idx="79">
                  <c:v>1037</c:v>
                </c:pt>
                <c:pt idx="80">
                  <c:v>989</c:v>
                </c:pt>
                <c:pt idx="81">
                  <c:v>942</c:v>
                </c:pt>
                <c:pt idx="82">
                  <c:v>896</c:v>
                </c:pt>
                <c:pt idx="83">
                  <c:v>887</c:v>
                </c:pt>
                <c:pt idx="84">
                  <c:v>874</c:v>
                </c:pt>
                <c:pt idx="85">
                  <c:v>820</c:v>
                </c:pt>
                <c:pt idx="86">
                  <c:v>781</c:v>
                </c:pt>
                <c:pt idx="87">
                  <c:v>743</c:v>
                </c:pt>
                <c:pt idx="88">
                  <c:v>713</c:v>
                </c:pt>
                <c:pt idx="89">
                  <c:v>658</c:v>
                </c:pt>
                <c:pt idx="90">
                  <c:v>657</c:v>
                </c:pt>
                <c:pt idx="91">
                  <c:v>653</c:v>
                </c:pt>
                <c:pt idx="92">
                  <c:v>562</c:v>
                </c:pt>
                <c:pt idx="93">
                  <c:v>582</c:v>
                </c:pt>
                <c:pt idx="94">
                  <c:v>568</c:v>
                </c:pt>
                <c:pt idx="95">
                  <c:v>558</c:v>
                </c:pt>
                <c:pt idx="96">
                  <c:v>532</c:v>
                </c:pt>
                <c:pt idx="97">
                  <c:v>523</c:v>
                </c:pt>
                <c:pt idx="98">
                  <c:v>512</c:v>
                </c:pt>
                <c:pt idx="99">
                  <c:v>467</c:v>
                </c:pt>
                <c:pt idx="100">
                  <c:v>452</c:v>
                </c:pt>
                <c:pt idx="101">
                  <c:v>443</c:v>
                </c:pt>
                <c:pt idx="102">
                  <c:v>414</c:v>
                </c:pt>
                <c:pt idx="103">
                  <c:v>422</c:v>
                </c:pt>
                <c:pt idx="104">
                  <c:v>399</c:v>
                </c:pt>
                <c:pt idx="105">
                  <c:v>385</c:v>
                </c:pt>
                <c:pt idx="106">
                  <c:v>389</c:v>
                </c:pt>
                <c:pt idx="107">
                  <c:v>344</c:v>
                </c:pt>
                <c:pt idx="108">
                  <c:v>325</c:v>
                </c:pt>
                <c:pt idx="109">
                  <c:v>303</c:v>
                </c:pt>
                <c:pt idx="110">
                  <c:v>291</c:v>
                </c:pt>
                <c:pt idx="111">
                  <c:v>284</c:v>
                </c:pt>
                <c:pt idx="112">
                  <c:v>280</c:v>
                </c:pt>
                <c:pt idx="113">
                  <c:v>259</c:v>
                </c:pt>
                <c:pt idx="114">
                  <c:v>242</c:v>
                </c:pt>
                <c:pt idx="115">
                  <c:v>224</c:v>
                </c:pt>
                <c:pt idx="116">
                  <c:v>220</c:v>
                </c:pt>
                <c:pt idx="117">
                  <c:v>214</c:v>
                </c:pt>
                <c:pt idx="118">
                  <c:v>211</c:v>
                </c:pt>
                <c:pt idx="119">
                  <c:v>211</c:v>
                </c:pt>
                <c:pt idx="120">
                  <c:v>203</c:v>
                </c:pt>
                <c:pt idx="121">
                  <c:v>187</c:v>
                </c:pt>
                <c:pt idx="122">
                  <c:v>182</c:v>
                </c:pt>
                <c:pt idx="123">
                  <c:v>187</c:v>
                </c:pt>
                <c:pt idx="124">
                  <c:v>199</c:v>
                </c:pt>
                <c:pt idx="125">
                  <c:v>203</c:v>
                </c:pt>
                <c:pt idx="126">
                  <c:v>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5.1006992917135903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52641068222655"/>
                      <c:h val="0.111368566717756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3.01.21</c:v>
                </c:pt>
                <c:pt idx="1">
                  <c:v>04.01.21</c:v>
                </c:pt>
                <c:pt idx="2">
                  <c:v>05.01.21</c:v>
                </c:pt>
                <c:pt idx="3">
                  <c:v>06.01.21</c:v>
                </c:pt>
                <c:pt idx="4">
                  <c:v>07.01.21</c:v>
                </c:pt>
                <c:pt idx="5">
                  <c:v>08.01.21</c:v>
                </c:pt>
                <c:pt idx="6">
                  <c:v>09.01.21</c:v>
                </c:pt>
                <c:pt idx="7">
                  <c:v>10.01.21</c:v>
                </c:pt>
                <c:pt idx="8">
                  <c:v>11.01.21</c:v>
                </c:pt>
                <c:pt idx="9">
                  <c:v>12.01.21</c:v>
                </c:pt>
                <c:pt idx="10">
                  <c:v>13.01.21</c:v>
                </c:pt>
                <c:pt idx="11">
                  <c:v>14.01.21</c:v>
                </c:pt>
                <c:pt idx="12">
                  <c:v>15.01.21</c:v>
                </c:pt>
                <c:pt idx="13">
                  <c:v>16.01.21</c:v>
                </c:pt>
                <c:pt idx="14">
                  <c:v>17.01.21</c:v>
                </c:pt>
                <c:pt idx="15">
                  <c:v>18.01.21</c:v>
                </c:pt>
                <c:pt idx="16">
                  <c:v>19.01.21</c:v>
                </c:pt>
                <c:pt idx="17">
                  <c:v>20.01.21</c:v>
                </c:pt>
                <c:pt idx="18">
                  <c:v>21.01.21</c:v>
                </c:pt>
                <c:pt idx="19">
                  <c:v>22.01.21</c:v>
                </c:pt>
                <c:pt idx="20">
                  <c:v>23.01.21</c:v>
                </c:pt>
                <c:pt idx="21">
                  <c:v>24.01.21</c:v>
                </c:pt>
                <c:pt idx="22">
                  <c:v>25.01.21</c:v>
                </c:pt>
                <c:pt idx="23">
                  <c:v>26.01.21</c:v>
                </c:pt>
                <c:pt idx="24">
                  <c:v>27.01.21</c:v>
                </c:pt>
                <c:pt idx="25">
                  <c:v>28.01.21</c:v>
                </c:pt>
                <c:pt idx="26">
                  <c:v>29.01.21</c:v>
                </c:pt>
                <c:pt idx="27">
                  <c:v>30.01.21</c:v>
                </c:pt>
                <c:pt idx="28">
                  <c:v>31.01.21</c:v>
                </c:pt>
                <c:pt idx="29">
                  <c:v>01.02.21</c:v>
                </c:pt>
                <c:pt idx="30">
                  <c:v>02.02.21</c:v>
                </c:pt>
                <c:pt idx="31">
                  <c:v>03.02.21</c:v>
                </c:pt>
                <c:pt idx="32">
                  <c:v>04.02.21</c:v>
                </c:pt>
                <c:pt idx="33">
                  <c:v>05.02.21</c:v>
                </c:pt>
                <c:pt idx="34">
                  <c:v>06.02.21</c:v>
                </c:pt>
                <c:pt idx="35">
                  <c:v>07.02.21</c:v>
                </c:pt>
                <c:pt idx="36">
                  <c:v>08.02.21</c:v>
                </c:pt>
                <c:pt idx="37">
                  <c:v>09.02.21</c:v>
                </c:pt>
                <c:pt idx="38">
                  <c:v>10.02.21</c:v>
                </c:pt>
                <c:pt idx="39">
                  <c:v>11.02.21</c:v>
                </c:pt>
                <c:pt idx="40">
                  <c:v>12.02.21</c:v>
                </c:pt>
                <c:pt idx="41">
                  <c:v>13.02.21</c:v>
                </c:pt>
                <c:pt idx="42">
                  <c:v>14.02.21</c:v>
                </c:pt>
                <c:pt idx="43">
                  <c:v>15.02.21</c:v>
                </c:pt>
                <c:pt idx="44">
                  <c:v>16.02.21</c:v>
                </c:pt>
                <c:pt idx="45">
                  <c:v>17.02.21</c:v>
                </c:pt>
                <c:pt idx="46">
                  <c:v>18.02.21</c:v>
                </c:pt>
                <c:pt idx="47">
                  <c:v>19.02.21</c:v>
                </c:pt>
                <c:pt idx="48">
                  <c:v>20.02.21</c:v>
                </c:pt>
                <c:pt idx="49">
                  <c:v>21.02.21</c:v>
                </c:pt>
                <c:pt idx="50">
                  <c:v>22.02.21</c:v>
                </c:pt>
                <c:pt idx="51">
                  <c:v>23.02.21</c:v>
                </c:pt>
                <c:pt idx="52">
                  <c:v>24.02.21</c:v>
                </c:pt>
                <c:pt idx="53">
                  <c:v>25.02.21</c:v>
                </c:pt>
                <c:pt idx="54">
                  <c:v>26.02.21</c:v>
                </c:pt>
                <c:pt idx="55">
                  <c:v>27.02.21</c:v>
                </c:pt>
                <c:pt idx="56">
                  <c:v>28.02.21</c:v>
                </c:pt>
                <c:pt idx="57">
                  <c:v>01.03.21</c:v>
                </c:pt>
                <c:pt idx="58">
                  <c:v>02.03.21</c:v>
                </c:pt>
                <c:pt idx="59">
                  <c:v>03.03.21</c:v>
                </c:pt>
                <c:pt idx="60">
                  <c:v>04.03.21</c:v>
                </c:pt>
                <c:pt idx="61">
                  <c:v>05.03.21</c:v>
                </c:pt>
                <c:pt idx="62">
                  <c:v>06.03.21</c:v>
                </c:pt>
                <c:pt idx="63">
                  <c:v>07.03.21</c:v>
                </c:pt>
                <c:pt idx="64">
                  <c:v>08.03.21</c:v>
                </c:pt>
                <c:pt idx="65">
                  <c:v>09.03.21</c:v>
                </c:pt>
                <c:pt idx="66">
                  <c:v>10.03.21</c:v>
                </c:pt>
                <c:pt idx="67">
                  <c:v>11.03.21</c:v>
                </c:pt>
                <c:pt idx="68">
                  <c:v>12.03.21</c:v>
                </c:pt>
                <c:pt idx="69">
                  <c:v>13.03.21</c:v>
                </c:pt>
                <c:pt idx="70">
                  <c:v>14.03.21</c:v>
                </c:pt>
                <c:pt idx="71">
                  <c:v>15.03.21</c:v>
                </c:pt>
                <c:pt idx="72">
                  <c:v>16.03.21</c:v>
                </c:pt>
                <c:pt idx="73">
                  <c:v>17.03.21</c:v>
                </c:pt>
                <c:pt idx="74">
                  <c:v>18.03.21</c:v>
                </c:pt>
                <c:pt idx="75">
                  <c:v>19.03.21</c:v>
                </c:pt>
                <c:pt idx="76">
                  <c:v>20.03.21</c:v>
                </c:pt>
                <c:pt idx="77">
                  <c:v>21.03.21</c:v>
                </c:pt>
                <c:pt idx="78">
                  <c:v>22.03.21</c:v>
                </c:pt>
                <c:pt idx="79">
                  <c:v>23.03.21</c:v>
                </c:pt>
                <c:pt idx="80">
                  <c:v>24.03.21</c:v>
                </c:pt>
                <c:pt idx="81">
                  <c:v>25.03.21</c:v>
                </c:pt>
                <c:pt idx="82">
                  <c:v>26.03.21</c:v>
                </c:pt>
                <c:pt idx="83">
                  <c:v>27.03.21</c:v>
                </c:pt>
                <c:pt idx="84">
                  <c:v>28.03.21</c:v>
                </c:pt>
                <c:pt idx="85">
                  <c:v>29.03.21</c:v>
                </c:pt>
                <c:pt idx="86">
                  <c:v>30.03.21</c:v>
                </c:pt>
                <c:pt idx="87">
                  <c:v>31.03.21</c:v>
                </c:pt>
                <c:pt idx="88">
                  <c:v>01.04.21</c:v>
                </c:pt>
                <c:pt idx="89">
                  <c:v>02.04.21</c:v>
                </c:pt>
                <c:pt idx="90">
                  <c:v>03.04.21</c:v>
                </c:pt>
                <c:pt idx="91">
                  <c:v>04.04.21</c:v>
                </c:pt>
                <c:pt idx="92">
                  <c:v>05.04.21</c:v>
                </c:pt>
                <c:pt idx="93">
                  <c:v>06.04.21</c:v>
                </c:pt>
                <c:pt idx="94">
                  <c:v>07.04.21</c:v>
                </c:pt>
                <c:pt idx="95">
                  <c:v>08.04.21</c:v>
                </c:pt>
                <c:pt idx="96">
                  <c:v>09.04.21</c:v>
                </c:pt>
                <c:pt idx="97">
                  <c:v>10.04.21</c:v>
                </c:pt>
                <c:pt idx="98">
                  <c:v>11.04.21</c:v>
                </c:pt>
                <c:pt idx="99">
                  <c:v>12.04.21</c:v>
                </c:pt>
                <c:pt idx="100">
                  <c:v>13.04.21</c:v>
                </c:pt>
                <c:pt idx="101">
                  <c:v>14.04.21</c:v>
                </c:pt>
                <c:pt idx="102">
                  <c:v>15.04.21</c:v>
                </c:pt>
                <c:pt idx="103">
                  <c:v>16.04.21</c:v>
                </c:pt>
                <c:pt idx="104">
                  <c:v>17.04.21</c:v>
                </c:pt>
                <c:pt idx="105">
                  <c:v>18.04.21</c:v>
                </c:pt>
                <c:pt idx="106">
                  <c:v>19.04.21</c:v>
                </c:pt>
                <c:pt idx="107">
                  <c:v>20.04.21</c:v>
                </c:pt>
                <c:pt idx="108">
                  <c:v>21.04.21</c:v>
                </c:pt>
                <c:pt idx="109">
                  <c:v>22.04.21</c:v>
                </c:pt>
                <c:pt idx="110">
                  <c:v>23.04.21</c:v>
                </c:pt>
                <c:pt idx="111">
                  <c:v>24.04.21</c:v>
                </c:pt>
                <c:pt idx="112">
                  <c:v>25.04.21</c:v>
                </c:pt>
                <c:pt idx="113">
                  <c:v>26.04.21</c:v>
                </c:pt>
                <c:pt idx="114">
                  <c:v>27.04.21</c:v>
                </c:pt>
                <c:pt idx="115">
                  <c:v>28.04.21</c:v>
                </c:pt>
                <c:pt idx="116">
                  <c:v>29.04.21</c:v>
                </c:pt>
                <c:pt idx="117">
                  <c:v>30.04.21</c:v>
                </c:pt>
                <c:pt idx="118">
                  <c:v>01.05.21</c:v>
                </c:pt>
                <c:pt idx="119">
                  <c:v>02.05.21</c:v>
                </c:pt>
                <c:pt idx="120">
                  <c:v>03.05.21</c:v>
                </c:pt>
                <c:pt idx="121">
                  <c:v>04.05.21</c:v>
                </c:pt>
                <c:pt idx="122">
                  <c:v>05.05.21</c:v>
                </c:pt>
                <c:pt idx="123">
                  <c:v>06.05.21</c:v>
                </c:pt>
                <c:pt idx="124">
                  <c:v>07.05.21</c:v>
                </c:pt>
                <c:pt idx="125">
                  <c:v>08.05.21</c:v>
                </c:pt>
                <c:pt idx="126">
                  <c:v>09.05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691</c:v>
                </c:pt>
                <c:pt idx="1">
                  <c:v>1949</c:v>
                </c:pt>
                <c:pt idx="2">
                  <c:v>2154</c:v>
                </c:pt>
                <c:pt idx="3">
                  <c:v>2357</c:v>
                </c:pt>
                <c:pt idx="4">
                  <c:v>2270</c:v>
                </c:pt>
                <c:pt idx="5">
                  <c:v>2194</c:v>
                </c:pt>
                <c:pt idx="6">
                  <c:v>1979</c:v>
                </c:pt>
                <c:pt idx="7">
                  <c:v>1868</c:v>
                </c:pt>
                <c:pt idx="8">
                  <c:v>2016</c:v>
                </c:pt>
                <c:pt idx="9">
                  <c:v>2080</c:v>
                </c:pt>
                <c:pt idx="10">
                  <c:v>2211</c:v>
                </c:pt>
                <c:pt idx="11">
                  <c:v>1977</c:v>
                </c:pt>
                <c:pt idx="12">
                  <c:v>1850</c:v>
                </c:pt>
                <c:pt idx="13">
                  <c:v>1667</c:v>
                </c:pt>
                <c:pt idx="14">
                  <c:v>1457</c:v>
                </c:pt>
                <c:pt idx="15">
                  <c:v>1407</c:v>
                </c:pt>
                <c:pt idx="16">
                  <c:v>1530</c:v>
                </c:pt>
                <c:pt idx="17">
                  <c:v>1604</c:v>
                </c:pt>
                <c:pt idx="18">
                  <c:v>1501</c:v>
                </c:pt>
                <c:pt idx="19">
                  <c:v>1443</c:v>
                </c:pt>
                <c:pt idx="20">
                  <c:v>1332</c:v>
                </c:pt>
                <c:pt idx="21">
                  <c:v>1208</c:v>
                </c:pt>
                <c:pt idx="22">
                  <c:v>1185</c:v>
                </c:pt>
                <c:pt idx="23">
                  <c:v>1266</c:v>
                </c:pt>
                <c:pt idx="24">
                  <c:v>1381</c:v>
                </c:pt>
                <c:pt idx="25">
                  <c:v>1286</c:v>
                </c:pt>
                <c:pt idx="26">
                  <c:v>1199</c:v>
                </c:pt>
                <c:pt idx="27">
                  <c:v>1130</c:v>
                </c:pt>
                <c:pt idx="28">
                  <c:v>1037</c:v>
                </c:pt>
                <c:pt idx="29">
                  <c:v>989</c:v>
                </c:pt>
                <c:pt idx="30">
                  <c:v>1070</c:v>
                </c:pt>
                <c:pt idx="31">
                  <c:v>1174</c:v>
                </c:pt>
                <c:pt idx="32">
                  <c:v>1065</c:v>
                </c:pt>
                <c:pt idx="33">
                  <c:v>1036</c:v>
                </c:pt>
                <c:pt idx="34">
                  <c:v>946</c:v>
                </c:pt>
                <c:pt idx="35">
                  <c:v>870</c:v>
                </c:pt>
                <c:pt idx="36">
                  <c:v>876</c:v>
                </c:pt>
                <c:pt idx="37">
                  <c:v>985</c:v>
                </c:pt>
                <c:pt idx="38">
                  <c:v>1083</c:v>
                </c:pt>
                <c:pt idx="39">
                  <c:v>1038</c:v>
                </c:pt>
                <c:pt idx="40">
                  <c:v>1014</c:v>
                </c:pt>
                <c:pt idx="41">
                  <c:v>955</c:v>
                </c:pt>
                <c:pt idx="42">
                  <c:v>886</c:v>
                </c:pt>
                <c:pt idx="43">
                  <c:v>914</c:v>
                </c:pt>
                <c:pt idx="44">
                  <c:v>1010</c:v>
                </c:pt>
                <c:pt idx="45">
                  <c:v>1097</c:v>
                </c:pt>
                <c:pt idx="46">
                  <c:v>1068</c:v>
                </c:pt>
                <c:pt idx="47">
                  <c:v>1047</c:v>
                </c:pt>
                <c:pt idx="48">
                  <c:v>978</c:v>
                </c:pt>
                <c:pt idx="49">
                  <c:v>903</c:v>
                </c:pt>
                <c:pt idx="50">
                  <c:v>914</c:v>
                </c:pt>
                <c:pt idx="51">
                  <c:v>1045</c:v>
                </c:pt>
                <c:pt idx="52">
                  <c:v>1170</c:v>
                </c:pt>
                <c:pt idx="53">
                  <c:v>1144</c:v>
                </c:pt>
                <c:pt idx="54">
                  <c:v>1162</c:v>
                </c:pt>
                <c:pt idx="55">
                  <c:v>1115</c:v>
                </c:pt>
                <c:pt idx="56">
                  <c:v>1042</c:v>
                </c:pt>
                <c:pt idx="57">
                  <c:v>1062</c:v>
                </c:pt>
                <c:pt idx="58">
                  <c:v>1194</c:v>
                </c:pt>
                <c:pt idx="59">
                  <c:v>1328</c:v>
                </c:pt>
                <c:pt idx="60">
                  <c:v>1312</c:v>
                </c:pt>
                <c:pt idx="61">
                  <c:v>1306</c:v>
                </c:pt>
                <c:pt idx="62">
                  <c:v>1238</c:v>
                </c:pt>
                <c:pt idx="63">
                  <c:v>1150</c:v>
                </c:pt>
                <c:pt idx="64">
                  <c:v>1122</c:v>
                </c:pt>
                <c:pt idx="65">
                  <c:v>1209</c:v>
                </c:pt>
                <c:pt idx="66">
                  <c:v>1293</c:v>
                </c:pt>
                <c:pt idx="67">
                  <c:v>1400</c:v>
                </c:pt>
                <c:pt idx="68">
                  <c:v>1523</c:v>
                </c:pt>
                <c:pt idx="69">
                  <c:v>1584</c:v>
                </c:pt>
                <c:pt idx="70">
                  <c:v>1614</c:v>
                </c:pt>
                <c:pt idx="71">
                  <c:v>1527</c:v>
                </c:pt>
                <c:pt idx="72">
                  <c:v>1499</c:v>
                </c:pt>
                <c:pt idx="73">
                  <c:v>1441</c:v>
                </c:pt>
                <c:pt idx="74">
                  <c:v>1390</c:v>
                </c:pt>
                <c:pt idx="75">
                  <c:v>1320</c:v>
                </c:pt>
                <c:pt idx="76">
                  <c:v>1310</c:v>
                </c:pt>
                <c:pt idx="77">
                  <c:v>1289</c:v>
                </c:pt>
                <c:pt idx="78">
                  <c:v>1218</c:v>
                </c:pt>
                <c:pt idx="79">
                  <c:v>1152</c:v>
                </c:pt>
                <c:pt idx="80">
                  <c:v>1099</c:v>
                </c:pt>
                <c:pt idx="81">
                  <c:v>1047</c:v>
                </c:pt>
                <c:pt idx="82">
                  <c:v>1001</c:v>
                </c:pt>
                <c:pt idx="83">
                  <c:v>976</c:v>
                </c:pt>
                <c:pt idx="84">
                  <c:v>953</c:v>
                </c:pt>
                <c:pt idx="85">
                  <c:v>871</c:v>
                </c:pt>
                <c:pt idx="86">
                  <c:v>836</c:v>
                </c:pt>
                <c:pt idx="87">
                  <c:v>808</c:v>
                </c:pt>
                <c:pt idx="88">
                  <c:v>759</c:v>
                </c:pt>
                <c:pt idx="89">
                  <c:v>708</c:v>
                </c:pt>
                <c:pt idx="90">
                  <c:v>696</c:v>
                </c:pt>
                <c:pt idx="91">
                  <c:v>686</c:v>
                </c:pt>
                <c:pt idx="92">
                  <c:v>595</c:v>
                </c:pt>
                <c:pt idx="93">
                  <c:v>564</c:v>
                </c:pt>
                <c:pt idx="94">
                  <c:v>536</c:v>
                </c:pt>
                <c:pt idx="95">
                  <c:v>520</c:v>
                </c:pt>
                <c:pt idx="96">
                  <c:v>501</c:v>
                </c:pt>
                <c:pt idx="97">
                  <c:v>501</c:v>
                </c:pt>
                <c:pt idx="98">
                  <c:v>494</c:v>
                </c:pt>
                <c:pt idx="99">
                  <c:v>436</c:v>
                </c:pt>
                <c:pt idx="100">
                  <c:v>391</c:v>
                </c:pt>
                <c:pt idx="101">
                  <c:v>362</c:v>
                </c:pt>
                <c:pt idx="102">
                  <c:v>351</c:v>
                </c:pt>
                <c:pt idx="103">
                  <c:v>357</c:v>
                </c:pt>
                <c:pt idx="104">
                  <c:v>347</c:v>
                </c:pt>
                <c:pt idx="105">
                  <c:v>344</c:v>
                </c:pt>
                <c:pt idx="106">
                  <c:v>356</c:v>
                </c:pt>
                <c:pt idx="107">
                  <c:v>322</c:v>
                </c:pt>
                <c:pt idx="108">
                  <c:v>310</c:v>
                </c:pt>
                <c:pt idx="109">
                  <c:v>290</c:v>
                </c:pt>
                <c:pt idx="110">
                  <c:v>273</c:v>
                </c:pt>
                <c:pt idx="111">
                  <c:v>266</c:v>
                </c:pt>
                <c:pt idx="112">
                  <c:v>261</c:v>
                </c:pt>
                <c:pt idx="113">
                  <c:v>251</c:v>
                </c:pt>
                <c:pt idx="114">
                  <c:v>242</c:v>
                </c:pt>
                <c:pt idx="115">
                  <c:v>233</c:v>
                </c:pt>
                <c:pt idx="116">
                  <c:v>236</c:v>
                </c:pt>
                <c:pt idx="117">
                  <c:v>236</c:v>
                </c:pt>
                <c:pt idx="118">
                  <c:v>231</c:v>
                </c:pt>
                <c:pt idx="119">
                  <c:v>230</c:v>
                </c:pt>
                <c:pt idx="120">
                  <c:v>211</c:v>
                </c:pt>
                <c:pt idx="121">
                  <c:v>204</c:v>
                </c:pt>
                <c:pt idx="122">
                  <c:v>193</c:v>
                </c:pt>
                <c:pt idx="123">
                  <c:v>207</c:v>
                </c:pt>
                <c:pt idx="124">
                  <c:v>222</c:v>
                </c:pt>
                <c:pt idx="125">
                  <c:v>224</c:v>
                </c:pt>
                <c:pt idx="126">
                  <c:v>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aj Vysočina</c:v>
                </c:pt>
                <c:pt idx="2">
                  <c:v>Hlavní město Praha</c:v>
                </c:pt>
                <c:pt idx="3">
                  <c:v>Liberecký kraj</c:v>
                </c:pt>
                <c:pt idx="4">
                  <c:v>Královéhradecký kraj</c:v>
                </c:pt>
                <c:pt idx="5">
                  <c:v>Ústecký kraj</c:v>
                </c:pt>
                <c:pt idx="6">
                  <c:v>Středočeský kraj</c:v>
                </c:pt>
                <c:pt idx="7">
                  <c:v>ČR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5.347184253690543</c:v>
                </c:pt>
                <c:pt idx="1">
                  <c:v>82.737642585551328</c:v>
                </c:pt>
                <c:pt idx="2">
                  <c:v>82.682712063398895</c:v>
                </c:pt>
                <c:pt idx="3">
                  <c:v>81.334392374900716</c:v>
                </c:pt>
                <c:pt idx="4">
                  <c:v>81.164556962025316</c:v>
                </c:pt>
                <c:pt idx="5">
                  <c:v>80.929791271347256</c:v>
                </c:pt>
                <c:pt idx="6">
                  <c:v>80.547380812242494</c:v>
                </c:pt>
                <c:pt idx="7">
                  <c:v>80.159554957818798</c:v>
                </c:pt>
                <c:pt idx="8">
                  <c:v>80.068560235063671</c:v>
                </c:pt>
                <c:pt idx="9">
                  <c:v>79.474169741697423</c:v>
                </c:pt>
                <c:pt idx="10">
                  <c:v>79.356751824817522</c:v>
                </c:pt>
                <c:pt idx="11">
                  <c:v>78.508771929824562</c:v>
                </c:pt>
                <c:pt idx="12">
                  <c:v>77.936962750716333</c:v>
                </c:pt>
                <c:pt idx="13">
                  <c:v>77.770404777704044</c:v>
                </c:pt>
                <c:pt idx="14">
                  <c:v>75.129265770423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Královéhradec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4.68933943754088</c:v>
                </c:pt>
                <c:pt idx="1">
                  <c:v>74.407267892754277</c:v>
                </c:pt>
                <c:pt idx="2">
                  <c:v>73.532068654019881</c:v>
                </c:pt>
                <c:pt idx="3">
                  <c:v>73.021456208230745</c:v>
                </c:pt>
                <c:pt idx="4">
                  <c:v>71.703492516037059</c:v>
                </c:pt>
                <c:pt idx="5">
                  <c:v>70.008448324415667</c:v>
                </c:pt>
                <c:pt idx="6">
                  <c:v>69.540085448605183</c:v>
                </c:pt>
                <c:pt idx="7">
                  <c:v>68.743427970557306</c:v>
                </c:pt>
                <c:pt idx="8">
                  <c:v>68.425005522421031</c:v>
                </c:pt>
                <c:pt idx="9">
                  <c:v>68.01418439716312</c:v>
                </c:pt>
                <c:pt idx="10">
                  <c:v>68.013351749539595</c:v>
                </c:pt>
                <c:pt idx="11">
                  <c:v>62.889518413597735</c:v>
                </c:pt>
                <c:pt idx="12">
                  <c:v>60.683506686478452</c:v>
                </c:pt>
                <c:pt idx="13">
                  <c:v>60.599494402311308</c:v>
                </c:pt>
                <c:pt idx="14">
                  <c:v>59.954075774971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8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3130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4175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985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0119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181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7561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0879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327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212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8901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2.sv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2.svg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2.sv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2.svg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4961997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727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3526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135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8421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21428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9559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08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6282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6052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78709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50464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1451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95846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81314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17372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14302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48035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75977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0604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194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3996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5491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16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3119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  <p:sldLayoutId id="2147483673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6934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79562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8268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chart" Target="../charts/chart12.xml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13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chart" Target="../charts/chart14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chart" Target="../charts/chart15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chart" Target="../charts/chart16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 smtClean="0"/>
              <a:t>Vybrané ukazatele a analýzy dokládající efekt vakcinace proti COVID-19 v populaci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8287460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182483"/>
            <a:ext cx="12192000" cy="1510626"/>
          </a:xfrm>
        </p:spPr>
        <p:txBody>
          <a:bodyPr>
            <a:noAutofit/>
          </a:bodyPr>
          <a:lstStyle/>
          <a:p>
            <a:r>
              <a:rPr lang="cs-CZ" sz="4800" b="1" dirty="0"/>
              <a:t>Datová a informační základna </a:t>
            </a:r>
            <a:br>
              <a:rPr lang="cs-CZ" sz="4800" b="1" dirty="0"/>
            </a:br>
            <a:r>
              <a:rPr lang="cs-CZ" sz="4800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i="1" dirty="0"/>
              <a:t>Nákazy po vakcinaci u zdravotnických pracovníků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176264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29332" y="2690351"/>
            <a:ext cx="1132648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ostupná data ukazují, že následné nákazy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o vakcinaci jsou u zdravotnických pracovníků více četné než u běžné populace, a to zejména po 1. dávce vakcíny. To lze vysvětlit jejich větší expozicí nákaze při výkonu zaměstnání. I u zdravotnických pracovníků ale pozorujeme velmi významnou redukci počtu nákaz po 2. dávce a pouze ojedinělé případy s těžkým průběhem onemocnění: po 2 dávce vakcíny za celou dobu sledování pouze 16 případů.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1" y="214026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29332" y="115440"/>
            <a:ext cx="11249025" cy="2006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Zdravotničtí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acovníci jsou profesní skupinou s nejvyšší </a:t>
            </a:r>
            <a:r>
              <a:rPr kumimoji="0" lang="cs-CZ" sz="3200" b="1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oočkovaností</a:t>
            </a:r>
            <a:r>
              <a:rPr lang="cs-CZ" sz="3200" b="1" dirty="0">
                <a:solidFill>
                  <a:prstClr val="black"/>
                </a:solidFill>
                <a:latin typeface="Calibri" panose="020F0502020204030204"/>
              </a:rPr>
              <a:t>. Nadto jde o skupinu velmi reprezentativně sledovanou – z toho důvodu jde o kohortu ideální pro sledování rizika nákaz po vakcinaci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088511" y="617143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8808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3AB5B8-FE6E-499D-BEF3-819348751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2F62ED75-CBC2-4788-B9D7-699D79250EB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1278339"/>
              </p:ext>
            </p:extLst>
          </p:nvPr>
        </p:nvGraphicFramePr>
        <p:xfrm>
          <a:off x="381740" y="2003772"/>
          <a:ext cx="11288180" cy="19046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o 2. dávce** </a:t>
                      </a:r>
                      <a:endParaRPr lang="cs-CZ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kern="1200" dirty="0">
                          <a:solidFill>
                            <a:schemeClr val="lt1"/>
                          </a:solidFill>
                        </a:rPr>
                        <a:t>Počet očkovaných zdravotnických pracovníků</a:t>
                      </a:r>
                      <a:endParaRPr lang="cs-CZ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 se symptom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 leh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spitalizace </a:t>
                      </a:r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 těž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 14 dnů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819</a:t>
                      </a:r>
                    </a:p>
                  </a:txBody>
                  <a:tcPr marL="9525" marR="9525" marT="9525" marB="0" anchor="ctr">
                    <a:solidFill>
                      <a:srgbClr val="F3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 (0.24%)</a:t>
                      </a:r>
                    </a:p>
                  </a:txBody>
                  <a:tcPr marL="9525" marR="9525" marT="9525" marB="0" anchor="ctr"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(0.01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(0.01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(0.00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d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 dnů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9 (0.38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(0.01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(0.01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(0.00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sp>
        <p:nvSpPr>
          <p:cNvPr id="5" name="TextovéPole 4"/>
          <p:cNvSpPr txBox="1"/>
          <p:nvPr>
            <p:custDataLst>
              <p:tags r:id="rId2"/>
            </p:custDataLst>
          </p:nvPr>
        </p:nvSpPr>
        <p:spPr>
          <a:xfrm>
            <a:off x="364488" y="1277074"/>
            <a:ext cx="837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é shrnutí da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řehled bez ohledu na dobu do nákazy po vakcinaci) </a:t>
            </a: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F58963B6-ED37-4790-9435-56D463A3BCFC}"/>
              </a:ext>
            </a:extLst>
          </p:cNvPr>
          <p:cNvSpPr txBox="1"/>
          <p:nvPr/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05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FBDAF91-E5BE-4DDC-ABEB-54ED805D0A46}"/>
              </a:ext>
            </a:extLst>
          </p:cNvPr>
          <p:cNvSpPr txBox="1"/>
          <p:nvPr/>
        </p:nvSpPr>
        <p:spPr>
          <a:xfrm>
            <a:off x="364488" y="666316"/>
            <a:ext cx="3568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avotničtí pracovníci</a:t>
            </a:r>
          </a:p>
        </p:txBody>
      </p:sp>
      <p:sp>
        <p:nvSpPr>
          <p:cNvPr id="10" name="TextovéPole 13">
            <a:extLst>
              <a:ext uri="{FF2B5EF4-FFF2-40B4-BE49-F238E27FC236}">
                <a16:creationId xmlns:a16="http://schemas.microsoft.com/office/drawing/2014/main" id="{CDDEC7A8-79C4-493F-A21F-3DB55EDB4B6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1740" y="3856007"/>
            <a:ext cx="11288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zitivita byla prokázána po 1. dávce, před podáním druhé dávk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zitivita byla prokázána až po podání 2. dávky vakcíny</a:t>
            </a:r>
          </a:p>
        </p:txBody>
      </p:sp>
    </p:spTree>
    <p:extLst>
      <p:ext uri="{BB962C8B-B14F-4D97-AF65-F5344CB8AC3E}">
        <p14:creationId xmlns:p14="http://schemas.microsoft.com/office/powerpoint/2010/main" val="29231764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831336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klad efektu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Prioritní skupiny pro očkování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/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9150328" y="917382"/>
          <a:ext cx="2774884" cy="4967998"/>
        </p:xfrm>
        <a:graphic>
          <a:graphicData uri="http://schemas.openxmlformats.org/drawingml/2006/table">
            <a:tbl>
              <a:tblPr/>
              <a:tblGrid>
                <a:gridCol w="1998153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776731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70-79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9 5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60-69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9 8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80+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6 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56215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čtí pracovníci / ochrana veřejného zdraví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 7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55-59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 7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7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a klienti v sociálních službá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 5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ve škols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1862885"/>
                  </a:ext>
                </a:extLst>
              </a:tr>
              <a:tr h="5507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ronicky nemoc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9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221812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442835BF-F101-4F84-B183-D210FFF048AE}"/>
              </a:ext>
            </a:extLst>
          </p:cNvPr>
          <p:cNvSpPr/>
          <p:nvPr/>
        </p:nvSpPr>
        <p:spPr>
          <a:xfrm>
            <a:off x="9064603" y="5974976"/>
            <a:ext cx="3001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* pracovníci kritické infrastruktury a ostatní věkové skupiny do 55 let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dirty="0"/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29058162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000" b="1" dirty="0" err="1"/>
              <a:t>Proočkovanost</a:t>
            </a:r>
            <a:r>
              <a:rPr lang="cs-CZ" sz="3000" b="1" dirty="0"/>
              <a:t> v profesních kategoriích zdravotnických pracovníků dosahuje populačně viditelné úrovně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449172" y="176292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49599" y="2255948"/>
            <a:ext cx="119185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dirty="0">
                <a:solidFill>
                  <a:srgbClr val="000000"/>
                </a:solidFill>
              </a:rPr>
              <a:t>Vysoká úroveň je dosažena zejména v nemocnicích akutní lůžkové péče (lékaři 80 %, sestry 68 %, ostatní ZP 67 %). Celkem je alespoň jednou dávkou naočkováno 124 844 zdravotnických pracovníků v nemocnicích / ZZS a 128 247 ostatních pracovníků ve zdravotnictví a v oblasti ochrany veřejného zdraví. U zdravotnických pracovníků je také vysoký počet osob s očkováním ukončeným oběma dávkami (112 376 ZP v nemocnicích / ZZS a 88 723 ostatní ZP a pracovníci ochrany veřejného zdraví)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449172" y="4641810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4" y="5126257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C00000"/>
                </a:solidFill>
              </a:rPr>
              <a:t>Očkování v těchto profesních kategoriích podstatně snížilo denní počet registrovaných nových nákaz 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449172" y="6260625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5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8. 5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370259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53332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399787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433612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17387861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5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200025" y="1119730"/>
          <a:ext cx="6743700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026513" y="1256231"/>
          <a:ext cx="4848225" cy="5154086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12.2020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261916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5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/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9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3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9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0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8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7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6 7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8 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73174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čitým problémem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a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nelékařských zdravotnických pracovníků,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šak i zde se situace zlepšila - celková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roveň proočkovanosti je cca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.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54956" y="3024465"/>
            <a:ext cx="1097728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zejména profese sanitáře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ště v dubnu stále patřila mezi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častěji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kažené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tom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lo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pracovníky, kteří mají v práci mnoho kontaktů a pohybují se po nemocnicích. Proto MZ ČR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elovalo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nemocnice, aby posílily očkování i u těchto zdravotnických profesí.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063319" y="2366136"/>
            <a:ext cx="1760561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 smtClean="0"/>
              <a:t>Sledování nákaz po vakcinaci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8647492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09. 5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profesních kategoriích zdravotnických pracovníků dosahuje populačně viditelné úrovně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10348" y="3137678"/>
            <a:ext cx="118537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lmi vysoká úroveň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i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patrná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pracovníků v akutní lůžkové péči: lékaři 79% a sestry 67%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díly mezi regiony jsou v tomto segmentu velmi mal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454916" y="5466770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454916" y="1904471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/>
        </p:nvGraphicFramePr>
        <p:xfrm>
          <a:off x="38711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81579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/>
        </p:nvGraphicFramePr>
        <p:xfrm>
          <a:off x="5098826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95885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/>
        </p:nvGraphicFramePr>
        <p:xfrm>
          <a:off x="6213649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56517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/>
        </p:nvGraphicFramePr>
        <p:xfrm>
          <a:off x="11210544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4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70823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5. 2021</a:t>
            </a:r>
          </a:p>
        </p:txBody>
      </p:sp>
    </p:spTree>
    <p:extLst>
      <p:ext uri="{BB962C8B-B14F-4D97-AF65-F5344CB8AC3E}">
        <p14:creationId xmlns:p14="http://schemas.microsoft.com/office/powerpoint/2010/main" val="29824810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</a:t>
            </a:r>
            <a:r>
              <a:rPr lang="cs-CZ" dirty="0" smtClean="0"/>
              <a:t>v sociálních službách </a:t>
            </a:r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792349"/>
            <a:ext cx="1118940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lší profesně velmi exponovanou skupinou jsou pracovníci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bytových sociálních služeb. I v této skupině byla v důsledku prioritní vakcinace dosažena zásadní redukce počtu nových nákaz COVID-19.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273840" y="2948476"/>
            <a:ext cx="1549733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1039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5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8966107"/>
              </p:ext>
            </p:extLst>
          </p:nvPr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1879482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5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589541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625767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Dlouhodobé predikce zátěže </a:t>
            </a:r>
            <a:r>
              <a:rPr lang="cs-CZ" sz="5200" b="1" dirty="0" smtClean="0"/>
              <a:t>nemocnic</a:t>
            </a:r>
          </a:p>
          <a:p>
            <a:r>
              <a:rPr lang="cs-CZ" sz="5200" b="1" dirty="0" smtClean="0"/>
              <a:t>odrážející efekt očkování </a:t>
            </a:r>
            <a:endParaRPr lang="cs-CZ" sz="5200" b="1" dirty="0"/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lang="cs-CZ" dirty="0" smtClean="0">
                <a:solidFill>
                  <a:prstClr val="black"/>
                </a:solidFill>
                <a:latin typeface="Calibri" panose="020F0502020204030204"/>
              </a:rPr>
              <a:t>z 5.3. 2021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kulována silná změna v populačních trendech již od prvního týdne v březnu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následným pozitivním dopadem na zátěž nemocnic od cca 14.3. 2021. Kapitola hodnotí nové modely, </a:t>
            </a: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erých je již uvažován vliv vakcinace. </a:t>
            </a:r>
          </a:p>
        </p:txBody>
      </p:sp>
    </p:spTree>
    <p:extLst>
      <p:ext uri="{BB962C8B-B14F-4D97-AF65-F5344CB8AC3E}">
        <p14:creationId xmlns:p14="http://schemas.microsoft.com/office/powerpoint/2010/main" val="21057337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/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13183" y="2408993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3CB062D-720E-4D82-8709-CD2DC8EFD10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539343" y="1702803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4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 38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diagnostikovaných potenciálně zranitelných pacien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COVID-19 významně klesá. Jde o efekt postupující vakcinac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trend se pozitivně promítá do klesající zátěže nemocnic.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689505">
            <a:off x="10987264" y="5375790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3408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/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938898" y="2550992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C232ED1B-4826-4970-8717-0D98788AF0A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04657" y="1876539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9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0F2B6EF9-D569-4BAE-B545-E34BCC4C24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diagnostikovaných potenciálně zranitelných pacien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COVID-19 významně klesá. Jde o efekt postupující vakcinac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trend se pozitivně promítá do klesající zátěže nemocnic.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Šipka doprava 1">
            <a:extLst>
              <a:ext uri="{FF2B5EF4-FFF2-40B4-BE49-F238E27FC236}">
                <a16:creationId xmlns:a16="http://schemas.microsoft.com/office/drawing/2014/main" id="{DB69093E-D357-4867-8160-EB2CA3C5A1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14450">
            <a:off x="10978120" y="5420916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78059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</a:t>
            </a:r>
            <a:r>
              <a:rPr kumimoji="0" lang="cs-CZ" sz="32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mocnic je predikován na základě ověřeného modelu, který kalkuluje s různými rychlostmi zpomalování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a ve scénářích do predikcí promítá i dopad očkování.</a:t>
            </a:r>
            <a:endParaRPr kumimoji="0" lang="cs-CZ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4958565" y="1895938"/>
            <a:ext cx="2250589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473065" y="2499564"/>
            <a:ext cx="1122158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</a:t>
            </a:r>
            <a:r>
              <a:rPr kumimoji="0" lang="cs-CZ" sz="32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 zátěže nemocnic ukazuje na velmi rychlý pokles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klesajících počtů hospitalizovaných pacientů se pozitivně promítá postupující očkování zejména u </a:t>
            </a:r>
            <a:r>
              <a:rPr kumimoji="0" lang="cs-CZ" sz="3200" b="1" i="0" u="none" strike="noStrike" kern="0" cap="none" spc="0" normalizeH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32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potenciálně zranitelných skupin obyvatel. Shoda predikcí nových příjmů do nemocnic (při předpokladu rychlého efektu vakcinace) s realitou je dokladem ochranného efektu očkování zejména pro těžký průběh nemoci vedoucí k nemocniční léčbě. </a:t>
            </a:r>
            <a:endParaRPr kumimoji="0" lang="cs-CZ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4958564" y="6186896"/>
            <a:ext cx="2250589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26796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nových hospitalizačních</a:t>
            </a:r>
            <a:r>
              <a:rPr lang="cs-CZ" dirty="0">
                <a:latin typeface="+mj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3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7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9" name="Přímá spojnice 18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Model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8178196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51874" y="2883996"/>
            <a:ext cx="1132648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xní dostupná data ukazují, že vakcinace velmi účinně chrání před následnými nákazami a zejména před těžkým průběhem onemocnění. To platí zejména po aplikaci 2. dávky očkování: u 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1 060 05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bylo dosud zachyceno 3 461 nákaz, což je pouze 0,33%. V odstupu 14 dní po aplikaci druhé dávky byla nákaza prokázána pouze u 0,17% očkovaných oběma dávkami. Těžký průběh onemocnění byl 14 dní po 2. dávce vakcín zachycen pouze u cca 0,02% očkovaných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4939260" y="249100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29332" y="115439"/>
            <a:ext cx="11249025" cy="25187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ální informační systém sleduje všechny nákazy COVID-19 po aplikaci očkování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to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ást prezentace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rnuje dostupná data, která je nutno vnímat jako průběžná a popisná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 postupujícím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em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vyšuje počet očkovaných a také narůstá doba sledování potřebná pro záchyt následných nákaz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4939259" y="620798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2114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3" name="Přímá spojnice 2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Model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009511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4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5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7" name="Přímá spojnice 16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Model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542640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3AB5B8-FE6E-499D-BEF3-819348751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graphicFrame>
        <p:nvGraphicFramePr>
          <p:cNvPr id="4" name="Tabulka 7">
            <a:extLst>
              <a:ext uri="{FF2B5EF4-FFF2-40B4-BE49-F238E27FC236}">
                <a16:creationId xmlns:a16="http://schemas.microsoft.com/office/drawing/2014/main" id="{02109A2E-B41F-4CC1-88C2-A0FB2F29504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076138"/>
              </p:ext>
            </p:extLst>
          </p:nvPr>
        </p:nvGraphicFramePr>
        <p:xfrm>
          <a:off x="381740" y="1694960"/>
          <a:ext cx="11288180" cy="1752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čet očkovaných osob</a:t>
                      </a:r>
                      <a:endParaRPr lang="cs-CZ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zitivní</a:t>
                      </a:r>
                      <a:endParaRPr lang="cs-CZ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zitivní se symptomy</a:t>
                      </a:r>
                      <a:endParaRPr lang="cs-CZ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ospitalizace lehký průběh</a:t>
                      </a:r>
                      <a:endParaRPr lang="cs-CZ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ospitalizace těžký průběh</a:t>
                      </a:r>
                      <a:endParaRPr lang="cs-CZ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 pouze první dávkou*</a:t>
                      </a:r>
                      <a:endParaRPr lang="cs-CZ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 569 1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 191 (1.22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 986 (0.25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 561 (0.16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 425 (0.09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 oběma dávkami**</a:t>
                      </a:r>
                      <a:endParaRPr lang="cs-CZ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 060 05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 461 (0.33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15 (0.07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78 (0.05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7 (0.02%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  <a:alpha val="67059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2F62ED75-CBC2-4788-B9D7-699D79250EB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306517"/>
              </p:ext>
            </p:extLst>
          </p:nvPr>
        </p:nvGraphicFramePr>
        <p:xfrm>
          <a:off x="381740" y="4117244"/>
          <a:ext cx="11288180" cy="1752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o 2. dávce** </a:t>
                      </a:r>
                      <a:endParaRPr lang="cs-CZ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čet očkovaných osob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 se symptom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 leh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spitalizace </a:t>
                      </a:r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 těž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 14 dnů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0 056</a:t>
                      </a:r>
                    </a:p>
                  </a:txBody>
                  <a:tcPr marL="9525" marR="9525" marT="9525" marB="0" anchor="ctr">
                    <a:solidFill>
                      <a:srgbClr val="F3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0 (0.16%)</a:t>
                      </a:r>
                    </a:p>
                  </a:txBody>
                  <a:tcPr marL="9525" marR="9525" marT="9525" marB="0" anchor="ctr"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 (0.03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(0.02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(0.01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d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 dnů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1 (0.17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 (0.04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 (0.03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 (0.02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sp>
        <p:nvSpPr>
          <p:cNvPr id="5" name="TextovéPole 4"/>
          <p:cNvSpPr txBox="1"/>
          <p:nvPr>
            <p:custDataLst>
              <p:tags r:id="rId3"/>
            </p:custDataLst>
          </p:nvPr>
        </p:nvSpPr>
        <p:spPr>
          <a:xfrm>
            <a:off x="364488" y="1277074"/>
            <a:ext cx="837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Celkové shrnutí dat </a:t>
            </a:r>
            <a:r>
              <a:rPr lang="cs-CZ" dirty="0"/>
              <a:t>(přehled bez ohledu na dobu do nákazy po vakcinaci) 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845388" y="3375011"/>
            <a:ext cx="586596" cy="5931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F58963B6-ED37-4790-9435-56D463A3BCFC}"/>
              </a:ext>
            </a:extLst>
          </p:cNvPr>
          <p:cNvSpPr txBox="1"/>
          <p:nvPr/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0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FBDAF91-E5BE-4DDC-ABEB-54ED805D0A46}"/>
              </a:ext>
            </a:extLst>
          </p:cNvPr>
          <p:cNvSpPr txBox="1"/>
          <p:nvPr/>
        </p:nvSpPr>
        <p:spPr>
          <a:xfrm>
            <a:off x="364488" y="666316"/>
            <a:ext cx="12811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b="1" dirty="0"/>
              <a:t>Celkem</a:t>
            </a:r>
          </a:p>
        </p:txBody>
      </p:sp>
      <p:sp>
        <p:nvSpPr>
          <p:cNvPr id="10" name="TextovéPole 13">
            <a:extLst>
              <a:ext uri="{FF2B5EF4-FFF2-40B4-BE49-F238E27FC236}">
                <a16:creationId xmlns:a16="http://schemas.microsoft.com/office/drawing/2014/main" id="{CDDEC7A8-79C4-493F-A21F-3DB55EDB4B6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1740" y="5969479"/>
            <a:ext cx="11288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* Pozitivita byla prokázána po 1. dávce, před podáním druhé dávky</a:t>
            </a:r>
          </a:p>
          <a:p>
            <a:r>
              <a:rPr lang="cs-CZ" dirty="0"/>
              <a:t>** Pozitivita byla prokázána až po podání 2. dávky vakcíny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1552757" y="3674851"/>
            <a:ext cx="78069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/>
              <a:t>Zásadní pro hodnocení je výskyt nákaz s časovým odstupem po 2. dávce </a:t>
            </a:r>
          </a:p>
        </p:txBody>
      </p:sp>
    </p:spTree>
    <p:extLst>
      <p:ext uri="{BB962C8B-B14F-4D97-AF65-F5344CB8AC3E}">
        <p14:creationId xmlns:p14="http://schemas.microsoft.com/office/powerpoint/2010/main" val="17666121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38480" y="3611699"/>
            <a:ext cx="1132648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Jak ukazuje následující graf,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velký podíl nákaz zjištěných po vakcinaci 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opukl 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velmi brzy po očkování. Tedy v časovém okně, kdy očkovaný ještě nemohl být chráněn.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64595" y="295087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15938" y="115439"/>
            <a:ext cx="11249025" cy="28051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ákazy po vakcinaci je nutné posuzovat dle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doby od aplikace dávky očkování. Dojde-li k nákaze před vakcinací nebo krátce </a:t>
            </a:r>
            <a:r>
              <a:rPr lang="cs-CZ" sz="32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cs-CZ" sz="3200" b="1" dirty="0" smtClean="0">
                <a:solidFill>
                  <a:prstClr val="black"/>
                </a:solidFill>
                <a:latin typeface="Calibri" panose="020F0502020204030204"/>
              </a:rPr>
              <a:t>  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o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í, nemůže očkování ještě dotyčného chránit. </a:t>
            </a:r>
            <a:endParaRPr kumimoji="0" lang="cs-CZ" sz="3200" b="1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cs-CZ" sz="32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yto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ákazy je možné od celku oddělit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264594" y="544681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6305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0" y="0"/>
            <a:ext cx="7434501" cy="576000"/>
          </a:xfrm>
        </p:spPr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B3EEB4B0-5A7F-4B46-944B-628C5ED0DEF5}"/>
              </a:ext>
            </a:extLst>
          </p:cNvPr>
          <p:cNvSpPr/>
          <p:nvPr/>
        </p:nvSpPr>
        <p:spPr>
          <a:xfrm>
            <a:off x="1733551" y="6582159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616A8CA-B1F6-4415-B2C5-3A5AF9993E7E}"/>
              </a:ext>
            </a:extLst>
          </p:cNvPr>
          <p:cNvSpPr/>
          <p:nvPr/>
        </p:nvSpPr>
        <p:spPr>
          <a:xfrm>
            <a:off x="762000" y="748196"/>
            <a:ext cx="104393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srgbClr val="000000"/>
                </a:solidFill>
                <a:latin typeface="Arial" panose="020B0604020202020204"/>
              </a:rPr>
              <a:t>Doba do pozitivity po podání vakcíny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E7C9BA0C-EFF3-4A64-88A8-CE2373FFBC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359130"/>
              </p:ext>
            </p:extLst>
          </p:nvPr>
        </p:nvGraphicFramePr>
        <p:xfrm>
          <a:off x="388924" y="1153682"/>
          <a:ext cx="11506986" cy="508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ulka 18">
            <a:extLst>
              <a:ext uri="{FF2B5EF4-FFF2-40B4-BE49-F238E27FC236}">
                <a16:creationId xmlns:a16="http://schemas.microsoft.com/office/drawing/2014/main" id="{81224743-C0E6-4358-842D-D6EAE04565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638025"/>
              </p:ext>
            </p:extLst>
          </p:nvPr>
        </p:nvGraphicFramePr>
        <p:xfrm>
          <a:off x="5759865" y="1530440"/>
          <a:ext cx="5441534" cy="3057496"/>
        </p:xfrm>
        <a:graphic>
          <a:graphicData uri="http://schemas.openxmlformats.org/drawingml/2006/table">
            <a:tbl>
              <a:tblPr/>
              <a:tblGrid>
                <a:gridCol w="1392965">
                  <a:extLst>
                    <a:ext uri="{9D8B030D-6E8A-4147-A177-3AD203B41FA5}">
                      <a16:colId xmlns:a16="http://schemas.microsoft.com/office/drawing/2014/main" val="883849921"/>
                    </a:ext>
                  </a:extLst>
                </a:gridCol>
                <a:gridCol w="2106401">
                  <a:extLst>
                    <a:ext uri="{9D8B030D-6E8A-4147-A177-3AD203B41FA5}">
                      <a16:colId xmlns:a16="http://schemas.microsoft.com/office/drawing/2014/main" val="2808698420"/>
                    </a:ext>
                  </a:extLst>
                </a:gridCol>
                <a:gridCol w="1942168">
                  <a:extLst>
                    <a:ext uri="{9D8B030D-6E8A-4147-A177-3AD203B41FA5}">
                      <a16:colId xmlns:a16="http://schemas.microsoft.com/office/drawing/2014/main" val="165716572"/>
                    </a:ext>
                  </a:extLst>
                </a:gridCol>
              </a:tblGrid>
              <a:tr h="79430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zitivita po 1. dávce vakcíny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zitivita 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vce vakcíny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8383"/>
                  </a:ext>
                </a:extLst>
              </a:tr>
              <a:tr h="51476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91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/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2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z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9 115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1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,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 z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0 056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806576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20201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án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479171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2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78875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14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3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615180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1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9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707982"/>
                  </a:ext>
                </a:extLst>
              </a:tr>
            </a:tbl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B835FDC7-B7B9-40FC-BD64-0CD277E2BFF9}"/>
              </a:ext>
            </a:extLst>
          </p:cNvPr>
          <p:cNvCxnSpPr/>
          <p:nvPr/>
        </p:nvCxnSpPr>
        <p:spPr>
          <a:xfrm>
            <a:off x="9982722" y="2156808"/>
            <a:ext cx="45657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B3D5F012-DB16-4376-943C-BEBE1F6D7ACF}"/>
              </a:ext>
            </a:extLst>
          </p:cNvPr>
          <p:cNvCxnSpPr/>
          <p:nvPr/>
        </p:nvCxnSpPr>
        <p:spPr>
          <a:xfrm>
            <a:off x="8024307" y="2156808"/>
            <a:ext cx="45657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délník 21">
            <a:extLst>
              <a:ext uri="{FF2B5EF4-FFF2-40B4-BE49-F238E27FC236}">
                <a16:creationId xmlns:a16="http://schemas.microsoft.com/office/drawing/2014/main" id="{23EA4F6B-7780-4A4B-A21E-71700C75AC85}"/>
              </a:ext>
            </a:extLst>
          </p:cNvPr>
          <p:cNvSpPr/>
          <p:nvPr/>
        </p:nvSpPr>
        <p:spPr>
          <a:xfrm>
            <a:off x="941730" y="6202425"/>
            <a:ext cx="10180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srgbClr val="000000"/>
                </a:solidFill>
                <a:latin typeface="Arial" panose="020B0604020202020204"/>
              </a:rPr>
              <a:t>Dny od podání vakcíny do pozitivity na COVID-19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30924626-B064-4BD0-82EE-BBC62255E809}"/>
              </a:ext>
            </a:extLst>
          </p:cNvPr>
          <p:cNvSpPr/>
          <p:nvPr/>
        </p:nvSpPr>
        <p:spPr>
          <a:xfrm rot="16200000">
            <a:off x="-1205379" y="3425843"/>
            <a:ext cx="28996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srgbClr val="000000"/>
                </a:solidFill>
                <a:latin typeface="Arial" panose="020B0604020202020204"/>
              </a:rPr>
              <a:t>Podíl z očkovaných osob (%)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1F2DEBB0-D9D2-4AFE-8FA5-31673F65CB15}"/>
              </a:ext>
            </a:extLst>
          </p:cNvPr>
          <p:cNvSpPr txBox="1"/>
          <p:nvPr/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05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2599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0" y="0"/>
            <a:ext cx="7434501" cy="576000"/>
          </a:xfrm>
        </p:spPr>
        <p:txBody>
          <a:bodyPr/>
          <a:lstStyle/>
          <a:p>
            <a:r>
              <a:rPr lang="cs-CZ" dirty="0"/>
              <a:t>COVID-19 </a:t>
            </a:r>
            <a:r>
              <a:rPr lang="cs-CZ" b="1" dirty="0">
                <a:latin typeface="Arial" panose="020B0604020202020204"/>
              </a:rPr>
              <a:t>s těžkým průběhem</a:t>
            </a:r>
            <a:r>
              <a:rPr lang="cs-CZ" dirty="0"/>
              <a:t> po zahájení vakcinace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B3EEB4B0-5A7F-4B46-944B-628C5ED0DEF5}"/>
              </a:ext>
            </a:extLst>
          </p:cNvPr>
          <p:cNvSpPr/>
          <p:nvPr/>
        </p:nvSpPr>
        <p:spPr>
          <a:xfrm>
            <a:off x="1733551" y="6582159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616A8CA-B1F6-4415-B2C5-3A5AF9993E7E}"/>
              </a:ext>
            </a:extLst>
          </p:cNvPr>
          <p:cNvSpPr/>
          <p:nvPr/>
        </p:nvSpPr>
        <p:spPr>
          <a:xfrm>
            <a:off x="762000" y="748196"/>
            <a:ext cx="104393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srgbClr val="000000"/>
                </a:solidFill>
                <a:latin typeface="Arial" panose="020B0604020202020204"/>
              </a:rPr>
              <a:t>Doba do hospitalizace s těžkým průběhem po podání vakcíny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E7C9BA0C-EFF3-4A64-88A8-CE2373FFBC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2910103"/>
              </p:ext>
            </p:extLst>
          </p:nvPr>
        </p:nvGraphicFramePr>
        <p:xfrm>
          <a:off x="388924" y="1153682"/>
          <a:ext cx="11506986" cy="508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23EA4F6B-7780-4A4B-A21E-71700C75AC85}"/>
              </a:ext>
            </a:extLst>
          </p:cNvPr>
          <p:cNvSpPr/>
          <p:nvPr/>
        </p:nvSpPr>
        <p:spPr>
          <a:xfrm>
            <a:off x="941730" y="6202425"/>
            <a:ext cx="10180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1200" b="1" dirty="0">
                <a:solidFill>
                  <a:srgbClr val="000000"/>
                </a:solidFill>
                <a:latin typeface="Arial" panose="020B0604020202020204"/>
              </a:rPr>
              <a:t>Dny od podání vakcíny do hospitalizace </a:t>
            </a:r>
            <a:r>
              <a:rPr lang="cs-CZ" sz="1200" b="1" dirty="0">
                <a:solidFill>
                  <a:srgbClr val="000000"/>
                </a:solidFill>
              </a:rPr>
              <a:t>s těžkým průběhem na </a:t>
            </a:r>
            <a:r>
              <a:rPr lang="cs-CZ" sz="1200" b="1" dirty="0">
                <a:solidFill>
                  <a:srgbClr val="000000"/>
                </a:solidFill>
                <a:latin typeface="Arial" panose="020B0604020202020204"/>
              </a:rPr>
              <a:t>COVID-19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8325367" y="3212636"/>
            <a:ext cx="3139420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Doplnit řádky </a:t>
            </a:r>
          </a:p>
          <a:p>
            <a:pPr algn="ctr"/>
            <a:r>
              <a:rPr lang="cs-CZ" dirty="0"/>
              <a:t>% do 14 dnů od dávky</a:t>
            </a:r>
          </a:p>
          <a:p>
            <a:pPr algn="ctr"/>
            <a:r>
              <a:rPr lang="cs-CZ" dirty="0"/>
              <a:t>% do 21 dnů od dávky</a:t>
            </a: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3B64BD3-1139-47D3-AEB6-C820360D5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6249045"/>
              </p:ext>
            </p:extLst>
          </p:nvPr>
        </p:nvGraphicFramePr>
        <p:xfrm>
          <a:off x="6161770" y="1599510"/>
          <a:ext cx="5441534" cy="2947618"/>
        </p:xfrm>
        <a:graphic>
          <a:graphicData uri="http://schemas.openxmlformats.org/drawingml/2006/table">
            <a:tbl>
              <a:tblPr/>
              <a:tblGrid>
                <a:gridCol w="1392965">
                  <a:extLst>
                    <a:ext uri="{9D8B030D-6E8A-4147-A177-3AD203B41FA5}">
                      <a16:colId xmlns:a16="http://schemas.microsoft.com/office/drawing/2014/main" val="883849921"/>
                    </a:ext>
                  </a:extLst>
                </a:gridCol>
                <a:gridCol w="2106401">
                  <a:extLst>
                    <a:ext uri="{9D8B030D-6E8A-4147-A177-3AD203B41FA5}">
                      <a16:colId xmlns:a16="http://schemas.microsoft.com/office/drawing/2014/main" val="2808698420"/>
                    </a:ext>
                  </a:extLst>
                </a:gridCol>
                <a:gridCol w="1942168">
                  <a:extLst>
                    <a:ext uri="{9D8B030D-6E8A-4147-A177-3AD203B41FA5}">
                      <a16:colId xmlns:a16="http://schemas.microsoft.com/office/drawing/2014/main" val="165716572"/>
                    </a:ext>
                  </a:extLst>
                </a:gridCol>
              </a:tblGrid>
              <a:tr h="6844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zitivita osob pouze s 1. dávkou vakcíny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</a:t>
                      </a:r>
                      <a:r>
                        <a:rPr lang="cs-CZ" sz="1400" b="1" dirty="0">
                          <a:solidFill>
                            <a:srgbClr val="000000"/>
                          </a:solidFill>
                          <a:latin typeface="+mn-lt"/>
                        </a:rPr>
                        <a:t> těžkým průběhem 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zitivita 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ávce vakcíny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 </a:t>
                      </a:r>
                      <a:r>
                        <a:rPr lang="cs-CZ" sz="1400" b="1" dirty="0">
                          <a:solidFill>
                            <a:srgbClr val="000000"/>
                          </a:solidFill>
                          <a:latin typeface="+mn-lt"/>
                        </a:rPr>
                        <a:t>těžkým průběhem 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8383"/>
                  </a:ext>
                </a:extLst>
              </a:tr>
              <a:tr h="51476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425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9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z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9 115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3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,02 % z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0 056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806576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7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3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20201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án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479171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631344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14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7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4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615180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3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8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707982"/>
                  </a:ext>
                </a:extLst>
              </a:tr>
            </a:tbl>
          </a:graphicData>
        </a:graphic>
      </p:graphicFrame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076E838E-9A31-4F35-82EE-37EEC3DCB9CC}"/>
              </a:ext>
            </a:extLst>
          </p:cNvPr>
          <p:cNvCxnSpPr/>
          <p:nvPr/>
        </p:nvCxnSpPr>
        <p:spPr>
          <a:xfrm>
            <a:off x="10384374" y="2281726"/>
            <a:ext cx="45657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208A5E67-E65A-4865-AA3B-658FEC5EC61E}"/>
              </a:ext>
            </a:extLst>
          </p:cNvPr>
          <p:cNvCxnSpPr/>
          <p:nvPr/>
        </p:nvCxnSpPr>
        <p:spPr>
          <a:xfrm>
            <a:off x="8425959" y="2281726"/>
            <a:ext cx="45657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délník 20">
            <a:extLst>
              <a:ext uri="{FF2B5EF4-FFF2-40B4-BE49-F238E27FC236}">
                <a16:creationId xmlns:a16="http://schemas.microsoft.com/office/drawing/2014/main" id="{0BB0927A-40DA-40B1-9B5B-0D0169425187}"/>
              </a:ext>
            </a:extLst>
          </p:cNvPr>
          <p:cNvSpPr/>
          <p:nvPr/>
        </p:nvSpPr>
        <p:spPr>
          <a:xfrm rot="16200000">
            <a:off x="-1205379" y="3425843"/>
            <a:ext cx="28996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srgbClr val="000000"/>
                </a:solidFill>
                <a:latin typeface="Arial" panose="020B0604020202020204"/>
              </a:rPr>
              <a:t>Podíl z očkovaných osob (%)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AF897FA9-1CA0-42EE-ABF2-6614292C0762}"/>
              </a:ext>
            </a:extLst>
          </p:cNvPr>
          <p:cNvSpPr txBox="1"/>
          <p:nvPr/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05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8140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Šipka dolů 5"/>
          <p:cNvSpPr/>
          <p:nvPr/>
        </p:nvSpPr>
        <p:spPr>
          <a:xfrm>
            <a:off x="4969363" y="433740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20706" y="1814844"/>
            <a:ext cx="11249025" cy="22323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Lze učinit jednoznačný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závěr, že očkování zásadně snižuje riziko následné nákazy a zejména těžkého průběhu nemoci. Nákazy zachycené po vakcinaci představují pouze zanedbatelný podíl všech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ově potvrzených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řípadů COVID-19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41637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0" y="0"/>
            <a:ext cx="7434501" cy="576000"/>
          </a:xfrm>
        </p:spPr>
        <p:txBody>
          <a:bodyPr/>
          <a:lstStyle/>
          <a:p>
            <a:r>
              <a:rPr lang="cs-CZ" dirty="0"/>
              <a:t>COVID-19</a:t>
            </a:r>
            <a:r>
              <a:rPr lang="en-US" dirty="0"/>
              <a:t> </a:t>
            </a:r>
            <a:r>
              <a:rPr lang="en-US" dirty="0" err="1"/>
              <a:t>Pozitivita</a:t>
            </a:r>
            <a:r>
              <a:rPr lang="en-US" dirty="0"/>
              <a:t> po </a:t>
            </a:r>
            <a:r>
              <a:rPr lang="cs-CZ" dirty="0"/>
              <a:t>očkování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62022AFE-E1CF-4487-A1F7-94203B1E1315}"/>
              </a:ext>
            </a:extLst>
          </p:cNvPr>
          <p:cNvSpPr txBox="1"/>
          <p:nvPr/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05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ECEF900-ADC6-4104-962F-F364E3D9D3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4628192"/>
              </p:ext>
            </p:extLst>
          </p:nvPr>
        </p:nvGraphicFramePr>
        <p:xfrm>
          <a:off x="347036" y="924675"/>
          <a:ext cx="6793503" cy="5856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C3FCCE22-ED0B-4852-846A-8555FA5337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0501307"/>
              </p:ext>
            </p:extLst>
          </p:nvPr>
        </p:nvGraphicFramePr>
        <p:xfrm>
          <a:off x="7140539" y="2291138"/>
          <a:ext cx="4808904" cy="2720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Obdélník 5">
            <a:extLst>
              <a:ext uri="{FF2B5EF4-FFF2-40B4-BE49-F238E27FC236}">
                <a16:creationId xmlns:a16="http://schemas.microsoft.com/office/drawing/2014/main" id="{AE31D820-5841-40BF-A076-952CFB261D4D}"/>
              </a:ext>
            </a:extLst>
          </p:cNvPr>
          <p:cNvSpPr/>
          <p:nvPr/>
        </p:nvSpPr>
        <p:spPr>
          <a:xfrm>
            <a:off x="1027416" y="910082"/>
            <a:ext cx="5979559" cy="394736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33E3F196-2C7D-4385-9494-C0B8A9BC66A5}"/>
              </a:ext>
            </a:extLst>
          </p:cNvPr>
          <p:cNvSpPr/>
          <p:nvPr/>
        </p:nvSpPr>
        <p:spPr>
          <a:xfrm>
            <a:off x="7159376" y="2274833"/>
            <a:ext cx="4790068" cy="2737244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9" name="Přímá spojnice se šipkou 8">
            <a:extLst>
              <a:ext uri="{FF2B5EF4-FFF2-40B4-BE49-F238E27FC236}">
                <a16:creationId xmlns:a16="http://schemas.microsoft.com/office/drawing/2014/main" id="{A8D98D02-C5EE-4A34-B0D2-2CC7F27E26DB}"/>
              </a:ext>
            </a:extLst>
          </p:cNvPr>
          <p:cNvCxnSpPr>
            <a:cxnSpLocks/>
          </p:cNvCxnSpPr>
          <p:nvPr/>
        </p:nvCxnSpPr>
        <p:spPr>
          <a:xfrm>
            <a:off x="7006975" y="1304818"/>
            <a:ext cx="523386" cy="970015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27441F6D-7E5C-4372-BAE4-BD1118A1C35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77025" y="6411611"/>
            <a:ext cx="5514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800" dirty="0"/>
              <a:t>* Vysvětlitelné expozicí před nebo brzy po očkování</a:t>
            </a:r>
          </a:p>
        </p:txBody>
      </p:sp>
    </p:spTree>
    <p:extLst>
      <p:ext uri="{BB962C8B-B14F-4D97-AF65-F5344CB8AC3E}">
        <p14:creationId xmlns:p14="http://schemas.microsoft.com/office/powerpoint/2010/main" val="4089539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  <p:tag name="ENGAGE" val="{&quot;SavedSwatch&quot;:&quot;-16748873|-10780376|-3468525|-5151986|-9539986|Markido&quot;,&quot;Id&quot;:&quot;609994ab3433423d387677ad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81</TotalTime>
  <Words>3220</Words>
  <Application>Microsoft Office PowerPoint</Application>
  <PresentationFormat>Širokoúhlá obrazovka</PresentationFormat>
  <Paragraphs>574</Paragraphs>
  <Slides>31</Slides>
  <Notes>16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1</vt:i4>
      </vt:variant>
    </vt:vector>
  </HeadingPairs>
  <TitlesOfParts>
    <vt:vector size="38" baseType="lpstr">
      <vt:lpstr>Calibri Light</vt:lpstr>
      <vt:lpstr>Arial</vt:lpstr>
      <vt:lpstr>Calibri</vt:lpstr>
      <vt:lpstr>Motiv Office</vt:lpstr>
      <vt:lpstr>1_Motiv Office</vt:lpstr>
      <vt:lpstr>2_Motiv Office</vt:lpstr>
      <vt:lpstr>3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COVID-19 pozitivita po zahájení vakcinace</vt:lpstr>
      <vt:lpstr>Prezentace aplikace PowerPoint</vt:lpstr>
      <vt:lpstr>COVID-19 pozitivita po zahájení vakcinace</vt:lpstr>
      <vt:lpstr>COVID-19 s těžkým průběhem po zahájení vakcinace</vt:lpstr>
      <vt:lpstr>Prezentace aplikace PowerPoint</vt:lpstr>
      <vt:lpstr>COVID-19 Pozitivita po očkování</vt:lpstr>
      <vt:lpstr>Datová a informační základna  pro management pandemie COVID-19</vt:lpstr>
      <vt:lpstr>Prezentace aplikace PowerPoint</vt:lpstr>
      <vt:lpstr>COVID-19 pozitivita po zahájení vakcinace</vt:lpstr>
      <vt:lpstr>Prezentace aplikace PowerPoint</vt:lpstr>
      <vt:lpstr>Prioritní skupiny pro očkování – aplikované dávky v čase</vt:lpstr>
      <vt:lpstr>Očkování zdravotnických pracovníků </vt:lpstr>
      <vt:lpstr>Počty pracovníků ve zdravotnictví s nákazou COVID-19</vt:lpstr>
      <vt:lpstr>Počty pracovníků ve zdravotnictví s nákazou COVID-19</vt:lpstr>
      <vt:lpstr>Očkovaní aktivní zdravotničtí pracovníci</vt:lpstr>
      <vt:lpstr>Očkování zdravotnických pracovníků </vt:lpstr>
      <vt:lpstr>Očkování zdravotnických pracovníků </vt:lpstr>
      <vt:lpstr>Očkovaní zdravotníci v nemocnicích akutní lůžkové péče a ZZS</vt:lpstr>
      <vt:lpstr>Očkování v sociálních službách </vt:lpstr>
      <vt:lpstr>Počty pracovníků v zařízeních sociálních služeb  s nákazou COVID-19</vt:lpstr>
      <vt:lpstr>Počty nově COVID-19 pozitivních pracovníků  v zařízeních sociálních služeb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dikovaný počet nových hospitalizačních případů</vt:lpstr>
      <vt:lpstr>Predikovaný počet aktuálně hospitalizovaných</vt:lpstr>
      <vt:lpstr>Predikovaný počet aktuálně hospitalizovaných na J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625</cp:revision>
  <dcterms:created xsi:type="dcterms:W3CDTF">2020-11-11T17:36:28Z</dcterms:created>
  <dcterms:modified xsi:type="dcterms:W3CDTF">2021-05-18T02:57:27Z</dcterms:modified>
</cp:coreProperties>
</file>